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838" r:id="rId4"/>
    <p:sldMasterId id="2147483919" r:id="rId5"/>
  </p:sldMasterIdLst>
  <p:notesMasterIdLst>
    <p:notesMasterId r:id="rId25"/>
  </p:notesMasterIdLst>
  <p:handoutMasterIdLst>
    <p:handoutMasterId r:id="rId26"/>
  </p:handoutMasterIdLst>
  <p:sldIdLst>
    <p:sldId id="256" r:id="rId6"/>
    <p:sldId id="257" r:id="rId7"/>
    <p:sldId id="258" r:id="rId8"/>
    <p:sldId id="2147482831" r:id="rId9"/>
    <p:sldId id="259" r:id="rId10"/>
    <p:sldId id="281" r:id="rId11"/>
    <p:sldId id="261" r:id="rId12"/>
    <p:sldId id="264" r:id="rId13"/>
    <p:sldId id="287" r:id="rId14"/>
    <p:sldId id="270" r:id="rId15"/>
    <p:sldId id="271" r:id="rId16"/>
    <p:sldId id="272" r:id="rId17"/>
    <p:sldId id="273" r:id="rId18"/>
    <p:sldId id="274" r:id="rId19"/>
    <p:sldId id="293" r:id="rId20"/>
    <p:sldId id="294" r:id="rId21"/>
    <p:sldId id="279" r:id="rId22"/>
    <p:sldId id="277" r:id="rId23"/>
    <p:sldId id="779" r:id="rId24"/>
  </p:sldIdLst>
  <p:sldSz cx="12192000" cy="6858000"/>
  <p:notesSz cx="6858000" cy="9144000"/>
  <p:embeddedFontLst>
    <p:embeddedFont>
      <p:font typeface="Fortum Sans TT Bold" panose="02010804010101010104" pitchFamily="2" charset="0"/>
      <p:bold r:id="rId27"/>
    </p:embeddedFont>
    <p:embeddedFont>
      <p:font typeface="Fortum Sans TT Light" panose="02010404010101010104" pitchFamily="2" charset="0"/>
      <p:regular r:id="rId28"/>
    </p:embeddedFont>
    <p:embeddedFont>
      <p:font typeface="Fortum Sans TT Regular" panose="02010504010101010104" pitchFamily="2" charset="0"/>
      <p:regular r:id="rId29"/>
    </p:embeddedFont>
  </p:embeddedFont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529" userDrawn="1">
          <p15:clr>
            <a:srgbClr val="A4A3A4"/>
          </p15:clr>
        </p15:guide>
        <p15:guide id="6" pos="7151" userDrawn="1">
          <p15:clr>
            <a:srgbClr val="A4A3A4"/>
          </p15:clr>
        </p15:guide>
        <p15:guide id="7" orient="horz" pos="300" userDrawn="1">
          <p15:clr>
            <a:srgbClr val="A4A3A4"/>
          </p15:clr>
        </p15:guide>
        <p15:guide id="10" orient="horz" pos="3748">
          <p15:clr>
            <a:srgbClr val="A4A3A4"/>
          </p15:clr>
        </p15:guide>
        <p15:guide id="13" pos="3840">
          <p15:clr>
            <a:srgbClr val="A4A3A4"/>
          </p15:clr>
        </p15:guide>
        <p15:guide id="16" orient="horz" pos="2160">
          <p15:clr>
            <a:srgbClr val="A4A3A4"/>
          </p15:clr>
        </p15:guide>
        <p15:guide id="17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39E1E4-20ED-4AB3-B91B-52D607EF849B}" v="7" dt="2025-10-17T13:35:47.471"/>
  </p1510:revLst>
</p1510:revInfo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6031" autoAdjust="0"/>
  </p:normalViewPr>
  <p:slideViewPr>
    <p:cSldViewPr showGuides="1">
      <p:cViewPr varScale="1">
        <p:scale>
          <a:sx n="63" d="100"/>
          <a:sy n="63" d="100"/>
        </p:scale>
        <p:origin x="1454" y="278"/>
      </p:cViewPr>
      <p:guideLst>
        <p:guide pos="529"/>
        <p:guide pos="7151"/>
        <p:guide orient="horz" pos="300"/>
        <p:guide orient="horz" pos="3748"/>
        <p:guide pos="3840"/>
        <p:guide orient="horz" pos="2160"/>
        <p:guide orient="horz" pos="935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83" d="100"/>
          <a:sy n="83" d="100"/>
        </p:scale>
        <p:origin x="3852" y="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2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1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jnicka Weronika" userId="9a6fd7d9-4b1d-4acd-ac74-7b09d57f7880" providerId="ADAL" clId="{606473BB-F3BB-4DC4-9F6F-F1D07A59CF26}"/>
    <pc:docChg chg="delSld modSld">
      <pc:chgData name="Wojnicka Weronika" userId="9a6fd7d9-4b1d-4acd-ac74-7b09d57f7880" providerId="ADAL" clId="{606473BB-F3BB-4DC4-9F6F-F1D07A59CF26}" dt="2025-10-16T12:32:00.832" v="15" actId="47"/>
      <pc:docMkLst>
        <pc:docMk/>
      </pc:docMkLst>
      <pc:sldChg chg="modNotesTx">
        <pc:chgData name="Wojnicka Weronika" userId="9a6fd7d9-4b1d-4acd-ac74-7b09d57f7880" providerId="ADAL" clId="{606473BB-F3BB-4DC4-9F6F-F1D07A59CF26}" dt="2025-10-16T12:28:36.388" v="0" actId="20577"/>
        <pc:sldMkLst>
          <pc:docMk/>
          <pc:sldMk cId="4088413784" sldId="258"/>
        </pc:sldMkLst>
      </pc:sldChg>
      <pc:sldChg chg="modNotesTx">
        <pc:chgData name="Wojnicka Weronika" userId="9a6fd7d9-4b1d-4acd-ac74-7b09d57f7880" providerId="ADAL" clId="{606473BB-F3BB-4DC4-9F6F-F1D07A59CF26}" dt="2025-10-16T12:28:54.377" v="3" actId="20577"/>
        <pc:sldMkLst>
          <pc:docMk/>
          <pc:sldMk cId="2996317971" sldId="264"/>
        </pc:sldMkLst>
      </pc:sldChg>
      <pc:sldChg chg="del">
        <pc:chgData name="Wojnicka Weronika" userId="9a6fd7d9-4b1d-4acd-ac74-7b09d57f7880" providerId="ADAL" clId="{606473BB-F3BB-4DC4-9F6F-F1D07A59CF26}" dt="2025-10-16T12:29:50.647" v="10" actId="47"/>
        <pc:sldMkLst>
          <pc:docMk/>
          <pc:sldMk cId="1120576493" sldId="267"/>
        </pc:sldMkLst>
      </pc:sldChg>
      <pc:sldChg chg="del modNotesTx">
        <pc:chgData name="Wojnicka Weronika" userId="9a6fd7d9-4b1d-4acd-ac74-7b09d57f7880" providerId="ADAL" clId="{606473BB-F3BB-4DC4-9F6F-F1D07A59CF26}" dt="2025-10-16T12:32:00.832" v="15" actId="47"/>
        <pc:sldMkLst>
          <pc:docMk/>
          <pc:sldMk cId="759751895" sldId="269"/>
        </pc:sldMkLst>
      </pc:sldChg>
      <pc:sldChg chg="modNotesTx">
        <pc:chgData name="Wojnicka Weronika" userId="9a6fd7d9-4b1d-4acd-ac74-7b09d57f7880" providerId="ADAL" clId="{606473BB-F3BB-4DC4-9F6F-F1D07A59CF26}" dt="2025-10-16T12:29:07.794" v="5" actId="20577"/>
        <pc:sldMkLst>
          <pc:docMk/>
          <pc:sldMk cId="1263861672" sldId="271"/>
        </pc:sldMkLst>
      </pc:sldChg>
      <pc:sldChg chg="modNotesTx">
        <pc:chgData name="Wojnicka Weronika" userId="9a6fd7d9-4b1d-4acd-ac74-7b09d57f7880" providerId="ADAL" clId="{606473BB-F3BB-4DC4-9F6F-F1D07A59CF26}" dt="2025-10-16T12:29:12.987" v="6" actId="20577"/>
        <pc:sldMkLst>
          <pc:docMk/>
          <pc:sldMk cId="3029735179" sldId="272"/>
        </pc:sldMkLst>
      </pc:sldChg>
      <pc:sldChg chg="modNotesTx">
        <pc:chgData name="Wojnicka Weronika" userId="9a6fd7d9-4b1d-4acd-ac74-7b09d57f7880" providerId="ADAL" clId="{606473BB-F3BB-4DC4-9F6F-F1D07A59CF26}" dt="2025-10-16T12:29:19.013" v="7" actId="20577"/>
        <pc:sldMkLst>
          <pc:docMk/>
          <pc:sldMk cId="2478996170" sldId="273"/>
        </pc:sldMkLst>
      </pc:sldChg>
      <pc:sldChg chg="modNotesTx">
        <pc:chgData name="Wojnicka Weronika" userId="9a6fd7d9-4b1d-4acd-ac74-7b09d57f7880" providerId="ADAL" clId="{606473BB-F3BB-4DC4-9F6F-F1D07A59CF26}" dt="2025-10-16T12:29:39.242" v="9" actId="20577"/>
        <pc:sldMkLst>
          <pc:docMk/>
          <pc:sldMk cId="2681042101" sldId="279"/>
        </pc:sldMkLst>
      </pc:sldChg>
      <pc:sldChg chg="del">
        <pc:chgData name="Wojnicka Weronika" userId="9a6fd7d9-4b1d-4acd-ac74-7b09d57f7880" providerId="ADAL" clId="{606473BB-F3BB-4DC4-9F6F-F1D07A59CF26}" dt="2025-10-16T12:31:27.454" v="12" actId="47"/>
        <pc:sldMkLst>
          <pc:docMk/>
          <pc:sldMk cId="3327927074" sldId="285"/>
        </pc:sldMkLst>
      </pc:sldChg>
      <pc:sldChg chg="modNotesTx">
        <pc:chgData name="Wojnicka Weronika" userId="9a6fd7d9-4b1d-4acd-ac74-7b09d57f7880" providerId="ADAL" clId="{606473BB-F3BB-4DC4-9F6F-F1D07A59CF26}" dt="2025-10-16T12:29:01.811" v="4" actId="20577"/>
        <pc:sldMkLst>
          <pc:docMk/>
          <pc:sldMk cId="2156079367" sldId="287"/>
        </pc:sldMkLst>
      </pc:sldChg>
      <pc:sldChg chg="del">
        <pc:chgData name="Wojnicka Weronika" userId="9a6fd7d9-4b1d-4acd-ac74-7b09d57f7880" providerId="ADAL" clId="{606473BB-F3BB-4DC4-9F6F-F1D07A59CF26}" dt="2025-10-16T12:31:25.735" v="11" actId="47"/>
        <pc:sldMkLst>
          <pc:docMk/>
          <pc:sldMk cId="3517567738" sldId="292"/>
        </pc:sldMkLst>
      </pc:sldChg>
      <pc:sldChg chg="modNotesTx">
        <pc:chgData name="Wojnicka Weronika" userId="9a6fd7d9-4b1d-4acd-ac74-7b09d57f7880" providerId="ADAL" clId="{606473BB-F3BB-4DC4-9F6F-F1D07A59CF26}" dt="2025-10-16T12:29:24.947" v="8" actId="20577"/>
        <pc:sldMkLst>
          <pc:docMk/>
          <pc:sldMk cId="522014769" sldId="293"/>
        </pc:sldMkLst>
      </pc:sldChg>
      <pc:sldChg chg="modNotesTx">
        <pc:chgData name="Wojnicka Weronika" userId="9a6fd7d9-4b1d-4acd-ac74-7b09d57f7880" providerId="ADAL" clId="{606473BB-F3BB-4DC4-9F6F-F1D07A59CF26}" dt="2025-10-16T12:28:44.665" v="2" actId="5793"/>
        <pc:sldMkLst>
          <pc:docMk/>
          <pc:sldMk cId="3428760053" sldId="2147482831"/>
        </pc:sldMkLst>
      </pc:sldChg>
    </pc:docChg>
  </pc:docChgLst>
  <pc:docChgLst>
    <pc:chgData name="Wojnicka Weronika" userId="9a6fd7d9-4b1d-4acd-ac74-7b09d57f7880" providerId="ADAL" clId="{EF39E1E4-20ED-4AB3-B91B-52D607EF849B}"/>
    <pc:docChg chg="undo custSel addSld modSld">
      <pc:chgData name="Wojnicka Weronika" userId="9a6fd7d9-4b1d-4acd-ac74-7b09d57f7880" providerId="ADAL" clId="{EF39E1E4-20ED-4AB3-B91B-52D607EF849B}" dt="2025-10-17T13:35:49.898" v="31" actId="20577"/>
      <pc:docMkLst>
        <pc:docMk/>
      </pc:docMkLst>
      <pc:sldChg chg="modSp">
        <pc:chgData name="Wojnicka Weronika" userId="9a6fd7d9-4b1d-4acd-ac74-7b09d57f7880" providerId="ADAL" clId="{EF39E1E4-20ED-4AB3-B91B-52D607EF849B}" dt="2025-10-17T11:45:50.515" v="1"/>
        <pc:sldMkLst>
          <pc:docMk/>
          <pc:sldMk cId="23042254" sldId="256"/>
        </pc:sldMkLst>
        <pc:spChg chg="mod">
          <ac:chgData name="Wojnicka Weronika" userId="9a6fd7d9-4b1d-4acd-ac74-7b09d57f7880" providerId="ADAL" clId="{EF39E1E4-20ED-4AB3-B91B-52D607EF849B}" dt="2025-10-17T11:45:50.515" v="1"/>
          <ac:spMkLst>
            <pc:docMk/>
            <pc:sldMk cId="23042254" sldId="256"/>
            <ac:spMk id="8" creationId="{F38589A1-E70F-8919-C9C6-8DF3E444CAE6}"/>
          </ac:spMkLst>
        </pc:spChg>
      </pc:sldChg>
      <pc:sldChg chg="addSp delSp modSp mod">
        <pc:chgData name="Wojnicka Weronika" userId="9a6fd7d9-4b1d-4acd-ac74-7b09d57f7880" providerId="ADAL" clId="{EF39E1E4-20ED-4AB3-B91B-52D607EF849B}" dt="2025-10-17T11:46:57.927" v="7" actId="1076"/>
        <pc:sldMkLst>
          <pc:docMk/>
          <pc:sldMk cId="4088413784" sldId="258"/>
        </pc:sldMkLst>
        <pc:spChg chg="del mod">
          <ac:chgData name="Wojnicka Weronika" userId="9a6fd7d9-4b1d-4acd-ac74-7b09d57f7880" providerId="ADAL" clId="{EF39E1E4-20ED-4AB3-B91B-52D607EF849B}" dt="2025-10-17T11:46:49.996" v="5" actId="478"/>
          <ac:spMkLst>
            <pc:docMk/>
            <pc:sldMk cId="4088413784" sldId="258"/>
            <ac:spMk id="2" creationId="{861B78E5-16DB-2863-8D25-35CA7F6CB064}"/>
          </ac:spMkLst>
        </pc:spChg>
        <pc:spChg chg="add mod">
          <ac:chgData name="Wojnicka Weronika" userId="9a6fd7d9-4b1d-4acd-ac74-7b09d57f7880" providerId="ADAL" clId="{EF39E1E4-20ED-4AB3-B91B-52D607EF849B}" dt="2025-10-17T11:46:57.927" v="7" actId="1076"/>
          <ac:spMkLst>
            <pc:docMk/>
            <pc:sldMk cId="4088413784" sldId="258"/>
            <ac:spMk id="5" creationId="{C7EC6BE2-1004-B285-763A-6FCF53F3D3FF}"/>
          </ac:spMkLst>
        </pc:spChg>
        <pc:spChg chg="add del mod">
          <ac:chgData name="Wojnicka Weronika" userId="9a6fd7d9-4b1d-4acd-ac74-7b09d57f7880" providerId="ADAL" clId="{EF39E1E4-20ED-4AB3-B91B-52D607EF849B}" dt="2025-10-17T11:46:52.722" v="6" actId="478"/>
          <ac:spMkLst>
            <pc:docMk/>
            <pc:sldMk cId="4088413784" sldId="258"/>
            <ac:spMk id="9" creationId="{595CC07F-411D-5BCF-25C3-65FB0EFC9D91}"/>
          </ac:spMkLst>
        </pc:spChg>
      </pc:sldChg>
      <pc:sldChg chg="modSp mod">
        <pc:chgData name="Wojnicka Weronika" userId="9a6fd7d9-4b1d-4acd-ac74-7b09d57f7880" providerId="ADAL" clId="{EF39E1E4-20ED-4AB3-B91B-52D607EF849B}" dt="2025-10-17T13:35:49.898" v="31" actId="20577"/>
        <pc:sldMkLst>
          <pc:docMk/>
          <pc:sldMk cId="2681042101" sldId="279"/>
        </pc:sldMkLst>
        <pc:spChg chg="mod">
          <ac:chgData name="Wojnicka Weronika" userId="9a6fd7d9-4b1d-4acd-ac74-7b09d57f7880" providerId="ADAL" clId="{EF39E1E4-20ED-4AB3-B91B-52D607EF849B}" dt="2025-10-17T13:35:49.898" v="31" actId="20577"/>
          <ac:spMkLst>
            <pc:docMk/>
            <pc:sldMk cId="2681042101" sldId="279"/>
            <ac:spMk id="5" creationId="{788A8C01-9165-AC4A-9023-205268B33B2C}"/>
          </ac:spMkLst>
        </pc:spChg>
      </pc:sldChg>
      <pc:sldChg chg="addSp delSp modSp mod">
        <pc:chgData name="Wojnicka Weronika" userId="9a6fd7d9-4b1d-4acd-ac74-7b09d57f7880" providerId="ADAL" clId="{EF39E1E4-20ED-4AB3-B91B-52D607EF849B}" dt="2025-10-17T11:47:46.097" v="9"/>
        <pc:sldMkLst>
          <pc:docMk/>
          <pc:sldMk cId="346789532" sldId="281"/>
        </pc:sldMkLst>
        <pc:spChg chg="add mod">
          <ac:chgData name="Wojnicka Weronika" userId="9a6fd7d9-4b1d-4acd-ac74-7b09d57f7880" providerId="ADAL" clId="{EF39E1E4-20ED-4AB3-B91B-52D607EF849B}" dt="2025-10-17T11:47:46.097" v="9"/>
          <ac:spMkLst>
            <pc:docMk/>
            <pc:sldMk cId="346789532" sldId="281"/>
            <ac:spMk id="2" creationId="{779766C4-DB01-3342-B236-999E5F4A349E}"/>
          </ac:spMkLst>
        </pc:spChg>
        <pc:spChg chg="del">
          <ac:chgData name="Wojnicka Weronika" userId="9a6fd7d9-4b1d-4acd-ac74-7b09d57f7880" providerId="ADAL" clId="{EF39E1E4-20ED-4AB3-B91B-52D607EF849B}" dt="2025-10-17T11:47:45.501" v="8" actId="478"/>
          <ac:spMkLst>
            <pc:docMk/>
            <pc:sldMk cId="346789532" sldId="281"/>
            <ac:spMk id="12" creationId="{E414411F-F3A1-D40C-D736-4EE71E5FCE5C}"/>
          </ac:spMkLst>
        </pc:spChg>
      </pc:sldChg>
      <pc:sldChg chg="add">
        <pc:chgData name="Wojnicka Weronika" userId="9a6fd7d9-4b1d-4acd-ac74-7b09d57f7880" providerId="ADAL" clId="{EF39E1E4-20ED-4AB3-B91B-52D607EF849B}" dt="2025-10-17T11:45:16.564" v="0"/>
        <pc:sldMkLst>
          <pc:docMk/>
          <pc:sldMk cId="3575148825" sldId="779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B783BC5-0485-460C-97CA-3617F142817B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2EB95784-1DA5-4806-A8A8-6579485803FC}">
      <dgm:prSet/>
      <dgm:spPr>
        <a:solidFill>
          <a:schemeClr val="accent4"/>
        </a:solidFill>
      </dgm:spPr>
      <dgm:t>
        <a:bodyPr/>
        <a:lstStyle/>
        <a:p>
          <a:pPr rtl="0"/>
          <a:r>
            <a:rPr lang="en-GB" dirty="0" err="1"/>
            <a:t>CsTreat</a:t>
          </a:r>
          <a:r>
            <a:rPr lang="en-GB" baseline="30000" dirty="0"/>
            <a:t>®</a:t>
          </a:r>
          <a:endParaRPr lang="en-US" dirty="0"/>
        </a:p>
      </dgm:t>
    </dgm:pt>
    <dgm:pt modelId="{A71128BF-D33C-4C5C-A1C8-FABCA107F935}" type="parTrans" cxnId="{1CFB4309-CC61-44D7-9842-D33A739C6767}">
      <dgm:prSet/>
      <dgm:spPr/>
      <dgm:t>
        <a:bodyPr/>
        <a:lstStyle/>
        <a:p>
          <a:endParaRPr lang="fi-FI"/>
        </a:p>
      </dgm:t>
    </dgm:pt>
    <dgm:pt modelId="{1973124A-19C7-49CC-9B4B-706DBF5FCB22}" type="sibTrans" cxnId="{1CFB4309-CC61-44D7-9842-D33A739C6767}">
      <dgm:prSet/>
      <dgm:spPr/>
      <dgm:t>
        <a:bodyPr/>
        <a:lstStyle/>
        <a:p>
          <a:endParaRPr lang="fi-FI"/>
        </a:p>
      </dgm:t>
    </dgm:pt>
    <dgm:pt modelId="{9B538F64-668A-4E26-A42B-BF5C7D5AE4DB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pPr rtl="0"/>
          <a:r>
            <a:rPr lang="en-GB" dirty="0" err="1">
              <a:solidFill>
                <a:schemeClr val="bg1"/>
              </a:solidFill>
            </a:rPr>
            <a:t>SrTreat</a:t>
          </a:r>
          <a:r>
            <a:rPr lang="en-GB" baseline="30000" dirty="0">
              <a:solidFill>
                <a:schemeClr val="bg1"/>
              </a:solidFill>
            </a:rPr>
            <a:t>®</a:t>
          </a:r>
          <a:endParaRPr lang="en-US" dirty="0">
            <a:solidFill>
              <a:schemeClr val="bg1"/>
            </a:solidFill>
          </a:endParaRPr>
        </a:p>
      </dgm:t>
    </dgm:pt>
    <dgm:pt modelId="{B5FBE03B-30B4-404A-A96A-85A947F33ED0}" type="parTrans" cxnId="{93304597-AF39-4ECB-8358-424D634499C0}">
      <dgm:prSet/>
      <dgm:spPr/>
      <dgm:t>
        <a:bodyPr/>
        <a:lstStyle/>
        <a:p>
          <a:endParaRPr lang="fi-FI"/>
        </a:p>
      </dgm:t>
    </dgm:pt>
    <dgm:pt modelId="{216FCCE1-970D-49DD-8309-9451214718FE}" type="sibTrans" cxnId="{93304597-AF39-4ECB-8358-424D634499C0}">
      <dgm:prSet/>
      <dgm:spPr/>
      <dgm:t>
        <a:bodyPr/>
        <a:lstStyle/>
        <a:p>
          <a:endParaRPr lang="fi-FI"/>
        </a:p>
      </dgm:t>
    </dgm:pt>
    <dgm:pt modelId="{C0D7AAB5-36CA-4AA2-976E-8FD8E1002A83}">
      <dgm:prSet/>
      <dgm:spPr>
        <a:solidFill>
          <a:schemeClr val="tx2"/>
        </a:solidFill>
      </dgm:spPr>
      <dgm:t>
        <a:bodyPr/>
        <a:lstStyle/>
        <a:p>
          <a:pPr rtl="0"/>
          <a:r>
            <a:rPr lang="en-GB" dirty="0" err="1">
              <a:solidFill>
                <a:schemeClr val="bg1"/>
              </a:solidFill>
            </a:rPr>
            <a:t>CoTreat</a:t>
          </a:r>
          <a:r>
            <a:rPr lang="en-GB" baseline="30000" dirty="0">
              <a:solidFill>
                <a:schemeClr val="bg1"/>
              </a:solidFill>
            </a:rPr>
            <a:t>®</a:t>
          </a:r>
          <a:endParaRPr lang="en-US" dirty="0">
            <a:solidFill>
              <a:schemeClr val="bg1"/>
            </a:solidFill>
          </a:endParaRPr>
        </a:p>
      </dgm:t>
    </dgm:pt>
    <dgm:pt modelId="{8CBB097A-0C3C-4936-97FC-CB640B9C7FF9}" type="parTrans" cxnId="{8634062F-601F-44CD-B46F-4BB52188172B}">
      <dgm:prSet/>
      <dgm:spPr/>
      <dgm:t>
        <a:bodyPr/>
        <a:lstStyle/>
        <a:p>
          <a:endParaRPr lang="fi-FI"/>
        </a:p>
      </dgm:t>
    </dgm:pt>
    <dgm:pt modelId="{197ACF21-947E-4B71-BE31-D238801DFB96}" type="sibTrans" cxnId="{8634062F-601F-44CD-B46F-4BB52188172B}">
      <dgm:prSet/>
      <dgm:spPr/>
      <dgm:t>
        <a:bodyPr/>
        <a:lstStyle/>
        <a:p>
          <a:endParaRPr lang="fi-FI"/>
        </a:p>
      </dgm:t>
    </dgm:pt>
    <dgm:pt modelId="{10196FF8-AC5E-4737-801B-5383B5030CDB}">
      <dgm:prSet/>
      <dgm:spPr>
        <a:solidFill>
          <a:schemeClr val="accent1"/>
        </a:solidFill>
      </dgm:spPr>
      <dgm:t>
        <a:bodyPr/>
        <a:lstStyle/>
        <a:p>
          <a:pPr rtl="0"/>
          <a:r>
            <a:rPr lang="en-GB" dirty="0" err="1">
              <a:solidFill>
                <a:schemeClr val="bg1"/>
              </a:solidFill>
            </a:rPr>
            <a:t>SbTreat</a:t>
          </a:r>
          <a:r>
            <a:rPr lang="en-GB" baseline="30000" dirty="0">
              <a:solidFill>
                <a:schemeClr val="bg1"/>
              </a:solidFill>
            </a:rPr>
            <a:t>®</a:t>
          </a:r>
          <a:endParaRPr lang="en-US" dirty="0">
            <a:solidFill>
              <a:schemeClr val="bg1"/>
            </a:solidFill>
          </a:endParaRPr>
        </a:p>
      </dgm:t>
    </dgm:pt>
    <dgm:pt modelId="{7B31492E-CBC8-4DAD-8D15-506C2206AEF3}" type="parTrans" cxnId="{AD17F70B-AF59-4479-9AC2-18255F8D06E9}">
      <dgm:prSet/>
      <dgm:spPr/>
      <dgm:t>
        <a:bodyPr/>
        <a:lstStyle/>
        <a:p>
          <a:endParaRPr lang="fi-FI"/>
        </a:p>
      </dgm:t>
    </dgm:pt>
    <dgm:pt modelId="{D07ED1C8-0247-490A-BFDD-FD9D958AC04F}" type="sibTrans" cxnId="{AD17F70B-AF59-4479-9AC2-18255F8D06E9}">
      <dgm:prSet/>
      <dgm:spPr/>
      <dgm:t>
        <a:bodyPr/>
        <a:lstStyle/>
        <a:p>
          <a:endParaRPr lang="fi-FI"/>
        </a:p>
      </dgm:t>
    </dgm:pt>
    <dgm:pt modelId="{DB697927-0BDE-436F-B325-089E6D12D92D}" type="pres">
      <dgm:prSet presAssocID="{3B783BC5-0485-460C-97CA-3617F142817B}" presName="diagram" presStyleCnt="0">
        <dgm:presLayoutVars>
          <dgm:dir/>
          <dgm:resizeHandles val="exact"/>
        </dgm:presLayoutVars>
      </dgm:prSet>
      <dgm:spPr/>
    </dgm:pt>
    <dgm:pt modelId="{9F1B5384-B7A9-4252-8349-F919E95EDE15}" type="pres">
      <dgm:prSet presAssocID="{2EB95784-1DA5-4806-A8A8-6579485803FC}" presName="node" presStyleLbl="node1" presStyleIdx="0" presStyleCnt="4">
        <dgm:presLayoutVars>
          <dgm:bulletEnabled val="1"/>
        </dgm:presLayoutVars>
      </dgm:prSet>
      <dgm:spPr>
        <a:prstGeom prst="snip2DiagRect">
          <a:avLst/>
        </a:prstGeom>
      </dgm:spPr>
    </dgm:pt>
    <dgm:pt modelId="{9D6BBF7D-8ED7-468F-8476-20DF383C8E27}" type="pres">
      <dgm:prSet presAssocID="{1973124A-19C7-49CC-9B4B-706DBF5FCB22}" presName="sibTrans" presStyleCnt="0"/>
      <dgm:spPr/>
    </dgm:pt>
    <dgm:pt modelId="{B30BC466-37A6-43B5-B5B8-74963EA09164}" type="pres">
      <dgm:prSet presAssocID="{9B538F64-668A-4E26-A42B-BF5C7D5AE4DB}" presName="node" presStyleLbl="node1" presStyleIdx="1" presStyleCnt="4">
        <dgm:presLayoutVars>
          <dgm:bulletEnabled val="1"/>
        </dgm:presLayoutVars>
      </dgm:prSet>
      <dgm:spPr>
        <a:prstGeom prst="snip2DiagRect">
          <a:avLst/>
        </a:prstGeom>
      </dgm:spPr>
    </dgm:pt>
    <dgm:pt modelId="{F3EE0650-57B2-4A23-B40B-178D486EA9B2}" type="pres">
      <dgm:prSet presAssocID="{216FCCE1-970D-49DD-8309-9451214718FE}" presName="sibTrans" presStyleCnt="0"/>
      <dgm:spPr/>
    </dgm:pt>
    <dgm:pt modelId="{FF4A2E4C-0241-4B20-950B-A989EE86A98E}" type="pres">
      <dgm:prSet presAssocID="{C0D7AAB5-36CA-4AA2-976E-8FD8E1002A83}" presName="node" presStyleLbl="node1" presStyleIdx="2" presStyleCnt="4">
        <dgm:presLayoutVars>
          <dgm:bulletEnabled val="1"/>
        </dgm:presLayoutVars>
      </dgm:prSet>
      <dgm:spPr>
        <a:prstGeom prst="snip2DiagRect">
          <a:avLst/>
        </a:prstGeom>
      </dgm:spPr>
    </dgm:pt>
    <dgm:pt modelId="{20483408-7DA0-4F13-A545-B92E682DB9E2}" type="pres">
      <dgm:prSet presAssocID="{197ACF21-947E-4B71-BE31-D238801DFB96}" presName="sibTrans" presStyleCnt="0"/>
      <dgm:spPr/>
    </dgm:pt>
    <dgm:pt modelId="{C99F8806-CC5A-47FB-8344-42F8DFDA894E}" type="pres">
      <dgm:prSet presAssocID="{10196FF8-AC5E-4737-801B-5383B5030CDB}" presName="node" presStyleLbl="node1" presStyleIdx="3" presStyleCnt="4" custLinFactNeighborX="1752" custLinFactNeighborY="2449">
        <dgm:presLayoutVars>
          <dgm:bulletEnabled val="1"/>
        </dgm:presLayoutVars>
      </dgm:prSet>
      <dgm:spPr>
        <a:prstGeom prst="snip2DiagRect">
          <a:avLst/>
        </a:prstGeom>
      </dgm:spPr>
    </dgm:pt>
  </dgm:ptLst>
  <dgm:cxnLst>
    <dgm:cxn modelId="{1CFB4309-CC61-44D7-9842-D33A739C6767}" srcId="{3B783BC5-0485-460C-97CA-3617F142817B}" destId="{2EB95784-1DA5-4806-A8A8-6579485803FC}" srcOrd="0" destOrd="0" parTransId="{A71128BF-D33C-4C5C-A1C8-FABCA107F935}" sibTransId="{1973124A-19C7-49CC-9B4B-706DBF5FCB22}"/>
    <dgm:cxn modelId="{AD17F70B-AF59-4479-9AC2-18255F8D06E9}" srcId="{3B783BC5-0485-460C-97CA-3617F142817B}" destId="{10196FF8-AC5E-4737-801B-5383B5030CDB}" srcOrd="3" destOrd="0" parTransId="{7B31492E-CBC8-4DAD-8D15-506C2206AEF3}" sibTransId="{D07ED1C8-0247-490A-BFDD-FD9D958AC04F}"/>
    <dgm:cxn modelId="{8634062F-601F-44CD-B46F-4BB52188172B}" srcId="{3B783BC5-0485-460C-97CA-3617F142817B}" destId="{C0D7AAB5-36CA-4AA2-976E-8FD8E1002A83}" srcOrd="2" destOrd="0" parTransId="{8CBB097A-0C3C-4936-97FC-CB640B9C7FF9}" sibTransId="{197ACF21-947E-4B71-BE31-D238801DFB96}"/>
    <dgm:cxn modelId="{027BB63D-EEA0-47DA-A0CC-937E50702347}" type="presOf" srcId="{10196FF8-AC5E-4737-801B-5383B5030CDB}" destId="{C99F8806-CC5A-47FB-8344-42F8DFDA894E}" srcOrd="0" destOrd="0" presId="urn:microsoft.com/office/officeart/2005/8/layout/default"/>
    <dgm:cxn modelId="{CF37D048-161F-4021-B8E6-E8C6671AE4BC}" type="presOf" srcId="{3B783BC5-0485-460C-97CA-3617F142817B}" destId="{DB697927-0BDE-436F-B325-089E6D12D92D}" srcOrd="0" destOrd="0" presId="urn:microsoft.com/office/officeart/2005/8/layout/default"/>
    <dgm:cxn modelId="{ED0DFC94-A776-4911-A8E7-53FCBA425AC1}" type="presOf" srcId="{C0D7AAB5-36CA-4AA2-976E-8FD8E1002A83}" destId="{FF4A2E4C-0241-4B20-950B-A989EE86A98E}" srcOrd="0" destOrd="0" presId="urn:microsoft.com/office/officeart/2005/8/layout/default"/>
    <dgm:cxn modelId="{93304597-AF39-4ECB-8358-424D634499C0}" srcId="{3B783BC5-0485-460C-97CA-3617F142817B}" destId="{9B538F64-668A-4E26-A42B-BF5C7D5AE4DB}" srcOrd="1" destOrd="0" parTransId="{B5FBE03B-30B4-404A-A96A-85A947F33ED0}" sibTransId="{216FCCE1-970D-49DD-8309-9451214718FE}"/>
    <dgm:cxn modelId="{CDF03BA9-41F6-4BB6-A038-BE112F916CA0}" type="presOf" srcId="{9B538F64-668A-4E26-A42B-BF5C7D5AE4DB}" destId="{B30BC466-37A6-43B5-B5B8-74963EA09164}" srcOrd="0" destOrd="0" presId="urn:microsoft.com/office/officeart/2005/8/layout/default"/>
    <dgm:cxn modelId="{430282CE-0A1A-49FA-AA95-33C8FD7E5535}" type="presOf" srcId="{2EB95784-1DA5-4806-A8A8-6579485803FC}" destId="{9F1B5384-B7A9-4252-8349-F919E95EDE15}" srcOrd="0" destOrd="0" presId="urn:microsoft.com/office/officeart/2005/8/layout/default"/>
    <dgm:cxn modelId="{86047242-D5CB-402C-A0EB-7D4B2D91F68E}" type="presParOf" srcId="{DB697927-0BDE-436F-B325-089E6D12D92D}" destId="{9F1B5384-B7A9-4252-8349-F919E95EDE15}" srcOrd="0" destOrd="0" presId="urn:microsoft.com/office/officeart/2005/8/layout/default"/>
    <dgm:cxn modelId="{B4C80211-C914-4257-B246-09FADFCB91E0}" type="presParOf" srcId="{DB697927-0BDE-436F-B325-089E6D12D92D}" destId="{9D6BBF7D-8ED7-468F-8476-20DF383C8E27}" srcOrd="1" destOrd="0" presId="urn:microsoft.com/office/officeart/2005/8/layout/default"/>
    <dgm:cxn modelId="{A3906933-56FE-4E35-B22C-316A5BF1C370}" type="presParOf" srcId="{DB697927-0BDE-436F-B325-089E6D12D92D}" destId="{B30BC466-37A6-43B5-B5B8-74963EA09164}" srcOrd="2" destOrd="0" presId="urn:microsoft.com/office/officeart/2005/8/layout/default"/>
    <dgm:cxn modelId="{82314283-4001-4F81-BE3F-14E6A473079E}" type="presParOf" srcId="{DB697927-0BDE-436F-B325-089E6D12D92D}" destId="{F3EE0650-57B2-4A23-B40B-178D486EA9B2}" srcOrd="3" destOrd="0" presId="urn:microsoft.com/office/officeart/2005/8/layout/default"/>
    <dgm:cxn modelId="{1D85AD88-D9CD-4876-AC79-C73DBAE09EE3}" type="presParOf" srcId="{DB697927-0BDE-436F-B325-089E6D12D92D}" destId="{FF4A2E4C-0241-4B20-950B-A989EE86A98E}" srcOrd="4" destOrd="0" presId="urn:microsoft.com/office/officeart/2005/8/layout/default"/>
    <dgm:cxn modelId="{AD869977-1EB6-487F-A2F2-73D9EA4E99C2}" type="presParOf" srcId="{DB697927-0BDE-436F-B325-089E6D12D92D}" destId="{20483408-7DA0-4F13-A545-B92E682DB9E2}" srcOrd="5" destOrd="0" presId="urn:microsoft.com/office/officeart/2005/8/layout/default"/>
    <dgm:cxn modelId="{A1B6DB9D-753A-46C0-B636-D257F117CB35}" type="presParOf" srcId="{DB697927-0BDE-436F-B325-089E6D12D92D}" destId="{C99F8806-CC5A-47FB-8344-42F8DFDA894E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1B5384-B7A9-4252-8349-F919E95EDE15}">
      <dsp:nvSpPr>
        <dsp:cNvPr id="0" name=""/>
        <dsp:cNvSpPr/>
      </dsp:nvSpPr>
      <dsp:spPr>
        <a:xfrm>
          <a:off x="1476" y="200197"/>
          <a:ext cx="1171614" cy="702968"/>
        </a:xfrm>
        <a:prstGeom prst="snip2Diag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 err="1"/>
            <a:t>CsTreat</a:t>
          </a:r>
          <a:r>
            <a:rPr lang="en-GB" sz="1700" kern="1200" baseline="30000" dirty="0"/>
            <a:t>®</a:t>
          </a:r>
          <a:endParaRPr lang="en-US" sz="1700" kern="1200" dirty="0"/>
        </a:p>
      </dsp:txBody>
      <dsp:txXfrm>
        <a:off x="60058" y="258779"/>
        <a:ext cx="1054450" cy="585804"/>
      </dsp:txXfrm>
    </dsp:sp>
    <dsp:sp modelId="{B30BC466-37A6-43B5-B5B8-74963EA09164}">
      <dsp:nvSpPr>
        <dsp:cNvPr id="0" name=""/>
        <dsp:cNvSpPr/>
      </dsp:nvSpPr>
      <dsp:spPr>
        <a:xfrm>
          <a:off x="1290252" y="200197"/>
          <a:ext cx="1171614" cy="702968"/>
        </a:xfrm>
        <a:prstGeom prst="snip2Diag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 err="1">
              <a:solidFill>
                <a:schemeClr val="bg1"/>
              </a:solidFill>
            </a:rPr>
            <a:t>SrTreat</a:t>
          </a:r>
          <a:r>
            <a:rPr lang="en-GB" sz="1700" kern="1200" baseline="30000" dirty="0">
              <a:solidFill>
                <a:schemeClr val="bg1"/>
              </a:solidFill>
            </a:rPr>
            <a:t>®</a:t>
          </a:r>
          <a:endParaRPr lang="en-US" sz="1700" kern="1200" dirty="0">
            <a:solidFill>
              <a:schemeClr val="bg1"/>
            </a:solidFill>
          </a:endParaRPr>
        </a:p>
      </dsp:txBody>
      <dsp:txXfrm>
        <a:off x="1348834" y="258779"/>
        <a:ext cx="1054450" cy="585804"/>
      </dsp:txXfrm>
    </dsp:sp>
    <dsp:sp modelId="{FF4A2E4C-0241-4B20-950B-A989EE86A98E}">
      <dsp:nvSpPr>
        <dsp:cNvPr id="0" name=""/>
        <dsp:cNvSpPr/>
      </dsp:nvSpPr>
      <dsp:spPr>
        <a:xfrm>
          <a:off x="2579028" y="200197"/>
          <a:ext cx="1171614" cy="702968"/>
        </a:xfrm>
        <a:prstGeom prst="snip2Diag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 err="1">
              <a:solidFill>
                <a:schemeClr val="bg1"/>
              </a:solidFill>
            </a:rPr>
            <a:t>CoTreat</a:t>
          </a:r>
          <a:r>
            <a:rPr lang="en-GB" sz="1700" kern="1200" baseline="30000" dirty="0">
              <a:solidFill>
                <a:schemeClr val="bg1"/>
              </a:solidFill>
            </a:rPr>
            <a:t>®</a:t>
          </a:r>
          <a:endParaRPr lang="en-US" sz="1700" kern="1200" dirty="0">
            <a:solidFill>
              <a:schemeClr val="bg1"/>
            </a:solidFill>
          </a:endParaRPr>
        </a:p>
      </dsp:txBody>
      <dsp:txXfrm>
        <a:off x="2637610" y="258779"/>
        <a:ext cx="1054450" cy="585804"/>
      </dsp:txXfrm>
    </dsp:sp>
    <dsp:sp modelId="{C99F8806-CC5A-47FB-8344-42F8DFDA894E}">
      <dsp:nvSpPr>
        <dsp:cNvPr id="0" name=""/>
        <dsp:cNvSpPr/>
      </dsp:nvSpPr>
      <dsp:spPr>
        <a:xfrm>
          <a:off x="3869280" y="217412"/>
          <a:ext cx="1171614" cy="702968"/>
        </a:xfrm>
        <a:prstGeom prst="snip2Diag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 err="1">
              <a:solidFill>
                <a:schemeClr val="bg1"/>
              </a:solidFill>
            </a:rPr>
            <a:t>SbTreat</a:t>
          </a:r>
          <a:r>
            <a:rPr lang="en-GB" sz="1700" kern="1200" baseline="30000" dirty="0">
              <a:solidFill>
                <a:schemeClr val="bg1"/>
              </a:solidFill>
            </a:rPr>
            <a:t>®</a:t>
          </a:r>
          <a:endParaRPr lang="en-US" sz="1700" kern="1200" dirty="0">
            <a:solidFill>
              <a:schemeClr val="bg1"/>
            </a:solidFill>
          </a:endParaRPr>
        </a:p>
      </dsp:txBody>
      <dsp:txXfrm>
        <a:off x="3927862" y="275994"/>
        <a:ext cx="1054450" cy="5858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7B5605-988A-E469-010C-7E06AE3A06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20D72C-BADF-D5B0-C117-3D73F5D6BD9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D9D0D6-C625-49B8-BA53-1E29242968D3}" type="datetimeFigureOut">
              <a:rPr lang="fi-FI" sz="800" smtClean="0"/>
              <a:t>17.10.2025</a:t>
            </a:fld>
            <a:endParaRPr lang="fi-FI" sz="8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C60FD1-65F8-B4CC-41AD-70A1073FEC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BA2E4C-ED7B-25C6-ECF7-F3C1A4D97E5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19D228-F30E-411E-BAD7-7DE878B81EB0}" type="slidenum">
              <a:rPr lang="fi-FI" sz="800" smtClean="0"/>
              <a:t>‹#›</a:t>
            </a:fld>
            <a:endParaRPr lang="fi-FI" sz="800"/>
          </a:p>
        </p:txBody>
      </p:sp>
    </p:spTree>
    <p:extLst>
      <p:ext uri="{BB962C8B-B14F-4D97-AF65-F5344CB8AC3E}">
        <p14:creationId xmlns:p14="http://schemas.microsoft.com/office/powerpoint/2010/main" val="322371154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0C37DE60-7A5B-459E-B731-8E79E3F008D4}" type="datetimeFigureOut">
              <a:rPr lang="fi-FI" smtClean="0"/>
              <a:pPr/>
              <a:t>17.10.2025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9FA650E1-BBC9-414D-A560-300C655DD98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59187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908863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1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386244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1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737778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1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463564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8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20934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88904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04255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582462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882391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373420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1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738884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650E1-BBC9-414D-A560-300C655DD988}" type="slidenum">
              <a:rPr lang="fi-FI" smtClean="0"/>
              <a:pPr/>
              <a:t>1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14638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reen lines on a black background&#10;&#10;Description automatically generated">
            <a:extLst>
              <a:ext uri="{FF2B5EF4-FFF2-40B4-BE49-F238E27FC236}">
                <a16:creationId xmlns:a16="http://schemas.microsoft.com/office/drawing/2014/main" id="{8FA7D8A4-769C-53BD-F677-6D56997B23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09EA037-6F28-4C89-BAA9-AE2B9607A85D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839788" y="2132856"/>
            <a:ext cx="8928620" cy="1929759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0" cap="all" baseline="0">
                <a:solidFill>
                  <a:schemeClr val="accent4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61304738-6820-3106-82CB-9DF67B7D0E0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97FA2495-1411-BCB9-FAB4-8121DCD4B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8928103" cy="307777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3376400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and black leaf&#10;&#10;Description automatically generated">
            <a:extLst>
              <a:ext uri="{FF2B5EF4-FFF2-40B4-BE49-F238E27FC236}">
                <a16:creationId xmlns:a16="http://schemas.microsoft.com/office/drawing/2014/main" id="{8BD97802-4087-B8A2-46D6-12662A65AB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94C3712-A568-4575-8EE4-6F8EEFF57A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777649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777649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738118"/>
            <a:ext cx="7776492" cy="1523494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0" cap="all" baseline="0">
                <a:solidFill>
                  <a:schemeClr val="accent4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C544558E-605F-1586-41EF-DD234A07B8EC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5993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half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096000" y="4"/>
            <a:ext cx="6096001" cy="6857996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 algn="l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4680148" cy="446496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8AED9-6C7E-4934-9634-A2173A3D5CA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3A9D67B-9FDA-D51A-BA5E-9FCE4A161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4680148" cy="7921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1C2F2EA7-E84E-1ACA-535F-09F293383F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03788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half_picture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096000" y="4"/>
            <a:ext cx="6096001" cy="6857996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 algn="l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9ECBB-88DD-4A1B-B6EB-0AD0E368AFC6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3A9D67B-9FDA-D51A-BA5E-9FCE4A161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4680148" cy="7921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06D16BAD-F185-148E-C559-914D0210E8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1484314"/>
            <a:ext cx="4680148" cy="4464966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3A5A4216-1AFA-65F6-D8D0-D3571ED4E1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65882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nd_w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4"/>
            <a:ext cx="12192001" cy="4293092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 algn="l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7" y="4581524"/>
            <a:ext cx="10512425" cy="136775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EDCAF-49D5-4998-854B-1D9819B26E11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041390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full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200"/>
            </a:lvl1pPr>
          </a:lstStyle>
          <a:p>
            <a:r>
              <a:rPr lang="en-GB" noProof="0" dirty="0"/>
              <a:t>Select shape and insert picture</a:t>
            </a:r>
          </a:p>
        </p:txBody>
      </p:sp>
      <p:sp>
        <p:nvSpPr>
          <p:cNvPr id="11" name="aurora">
            <a:extLst>
              <a:ext uri="{FF2B5EF4-FFF2-40B4-BE49-F238E27FC236}">
                <a16:creationId xmlns:a16="http://schemas.microsoft.com/office/drawing/2014/main" id="{D3D1ED17-0AC0-8747-E591-795AB7D274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>
          <a:xfrm>
            <a:off x="4800600" y="3429000"/>
            <a:ext cx="73914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4DF4A-2977-433A-9E09-5883630E1E3F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91FCFAB-2E72-A7DA-BE09-929733069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C374FAC-6B5D-6FBD-9263-D794FB510D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1484313"/>
            <a:ext cx="10512425" cy="446496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76B85AB-84F2-075B-5F61-04318207DC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3607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_challen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BDD78-1FF1-480E-8272-ED7902D8365B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839789" y="1772816"/>
            <a:ext cx="5112196" cy="432992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9"/>
          </p:nvPr>
        </p:nvSpPr>
        <p:spPr>
          <a:xfrm>
            <a:off x="839789" y="2349824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1"/>
          </p:nvPr>
        </p:nvSpPr>
        <p:spPr>
          <a:xfrm>
            <a:off x="840309" y="2925888"/>
            <a:ext cx="5111703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3"/>
          </p:nvPr>
        </p:nvSpPr>
        <p:spPr>
          <a:xfrm>
            <a:off x="839789" y="3501952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5"/>
          </p:nvPr>
        </p:nvSpPr>
        <p:spPr>
          <a:xfrm>
            <a:off x="839789" y="4078016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7"/>
          </p:nvPr>
        </p:nvSpPr>
        <p:spPr>
          <a:xfrm>
            <a:off x="839789" y="4654080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28"/>
          </p:nvPr>
        </p:nvSpPr>
        <p:spPr>
          <a:xfrm>
            <a:off x="6240016" y="1774999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9"/>
          </p:nvPr>
        </p:nvSpPr>
        <p:spPr>
          <a:xfrm>
            <a:off x="6240016" y="2351064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0"/>
          </p:nvPr>
        </p:nvSpPr>
        <p:spPr>
          <a:xfrm>
            <a:off x="6240016" y="2930595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30"/>
          </p:nvPr>
        </p:nvSpPr>
        <p:spPr>
          <a:xfrm>
            <a:off x="6240016" y="3510126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2"/>
          </p:nvPr>
        </p:nvSpPr>
        <p:spPr>
          <a:xfrm>
            <a:off x="6240016" y="4089657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4"/>
          </p:nvPr>
        </p:nvSpPr>
        <p:spPr>
          <a:xfrm>
            <a:off x="6240016" y="4669188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6"/>
          </p:nvPr>
        </p:nvSpPr>
        <p:spPr>
          <a:xfrm>
            <a:off x="6240016" y="5230144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31"/>
          </p:nvPr>
        </p:nvSpPr>
        <p:spPr>
          <a:xfrm>
            <a:off x="839789" y="5230144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44B25-4522-C76D-4413-A4CE0A0E9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170198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844824"/>
            <a:ext cx="3311996" cy="410445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8040216" y="1844824"/>
            <a:ext cx="3311997" cy="41044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4369203-DCD6-4B60-A1EB-6585998AEDE4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519936" y="3140546"/>
            <a:ext cx="1152128" cy="1152490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65B72B1-C82D-4E8E-A1A7-6E5CF1578050}"/>
              </a:ext>
            </a:extLst>
          </p:cNvPr>
          <p:cNvGrpSpPr/>
          <p:nvPr/>
        </p:nvGrpSpPr>
        <p:grpSpPr>
          <a:xfrm>
            <a:off x="4295799" y="1484313"/>
            <a:ext cx="144358" cy="4465638"/>
            <a:chOff x="3144433" y="1268624"/>
            <a:chExt cx="144363" cy="4465641"/>
          </a:xfrm>
        </p:grpSpPr>
        <p:sp>
          <p:nvSpPr>
            <p:cNvPr id="29" name="Isosceles Triangle 20">
              <a:extLst>
                <a:ext uri="{FF2B5EF4-FFF2-40B4-BE49-F238E27FC236}">
                  <a16:creationId xmlns:a16="http://schemas.microsoft.com/office/drawing/2014/main" id="{BD00601E-7157-4C2D-AF66-757140299A15}"/>
                </a:ext>
              </a:extLst>
            </p:cNvPr>
            <p:cNvSpPr/>
            <p:nvPr/>
          </p:nvSpPr>
          <p:spPr>
            <a:xfrm rot="5400000">
              <a:off x="3072599" y="3428741"/>
              <a:ext cx="288032" cy="144363"/>
            </a:xfrm>
            <a:custGeom>
              <a:avLst/>
              <a:gdLst>
                <a:gd name="connsiteX0" fmla="*/ 0 w 288032"/>
                <a:gd name="connsiteY0" fmla="*/ 144363 h 144363"/>
                <a:gd name="connsiteX1" fmla="*/ 144016 w 288032"/>
                <a:gd name="connsiteY1" fmla="*/ 0 h 144363"/>
                <a:gd name="connsiteX2" fmla="*/ 288032 w 288032"/>
                <a:gd name="connsiteY2" fmla="*/ 144363 h 144363"/>
                <a:gd name="connsiteX3" fmla="*/ 0 w 288032"/>
                <a:gd name="connsiteY3" fmla="*/ 144363 h 144363"/>
                <a:gd name="connsiteX0" fmla="*/ 0 w 288032"/>
                <a:gd name="connsiteY0" fmla="*/ 144363 h 145278"/>
                <a:gd name="connsiteX1" fmla="*/ 144016 w 288032"/>
                <a:gd name="connsiteY1" fmla="*/ 0 h 145278"/>
                <a:gd name="connsiteX2" fmla="*/ 288032 w 288032"/>
                <a:gd name="connsiteY2" fmla="*/ 144363 h 145278"/>
                <a:gd name="connsiteX3" fmla="*/ 149822 w 288032"/>
                <a:gd name="connsiteY3" fmla="*/ 145278 h 145278"/>
                <a:gd name="connsiteX4" fmla="*/ 0 w 288032"/>
                <a:gd name="connsiteY4" fmla="*/ 144363 h 145278"/>
                <a:gd name="connsiteX0" fmla="*/ 149822 w 288032"/>
                <a:gd name="connsiteY0" fmla="*/ 145278 h 236718"/>
                <a:gd name="connsiteX1" fmla="*/ 0 w 288032"/>
                <a:gd name="connsiteY1" fmla="*/ 144363 h 236718"/>
                <a:gd name="connsiteX2" fmla="*/ 144016 w 288032"/>
                <a:gd name="connsiteY2" fmla="*/ 0 h 236718"/>
                <a:gd name="connsiteX3" fmla="*/ 288032 w 288032"/>
                <a:gd name="connsiteY3" fmla="*/ 144363 h 236718"/>
                <a:gd name="connsiteX4" fmla="*/ 241262 w 288032"/>
                <a:gd name="connsiteY4" fmla="*/ 236718 h 236718"/>
                <a:gd name="connsiteX0" fmla="*/ 149822 w 288032"/>
                <a:gd name="connsiteY0" fmla="*/ 145278 h 145278"/>
                <a:gd name="connsiteX1" fmla="*/ 0 w 288032"/>
                <a:gd name="connsiteY1" fmla="*/ 144363 h 145278"/>
                <a:gd name="connsiteX2" fmla="*/ 144016 w 288032"/>
                <a:gd name="connsiteY2" fmla="*/ 0 h 145278"/>
                <a:gd name="connsiteX3" fmla="*/ 288032 w 288032"/>
                <a:gd name="connsiteY3" fmla="*/ 144363 h 145278"/>
                <a:gd name="connsiteX0" fmla="*/ 0 w 288032"/>
                <a:gd name="connsiteY0" fmla="*/ 144363 h 144363"/>
                <a:gd name="connsiteX1" fmla="*/ 144016 w 288032"/>
                <a:gd name="connsiteY1" fmla="*/ 0 h 144363"/>
                <a:gd name="connsiteX2" fmla="*/ 288032 w 288032"/>
                <a:gd name="connsiteY2" fmla="*/ 144363 h 14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032" h="144363">
                  <a:moveTo>
                    <a:pt x="0" y="144363"/>
                  </a:moveTo>
                  <a:lnTo>
                    <a:pt x="144016" y="0"/>
                  </a:lnTo>
                  <a:lnTo>
                    <a:pt x="288032" y="144363"/>
                  </a:lnTo>
                </a:path>
              </a:pathLst>
            </a:custGeom>
            <a:noFill/>
            <a:ln w="22225" cap="rnd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>
                <a:solidFill>
                  <a:srgbClr val="FFFFFF"/>
                </a:solidFill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15A9A77-8AB6-4FF6-B065-AD0D6583A36A}"/>
                </a:ext>
              </a:extLst>
            </p:cNvPr>
            <p:cNvCxnSpPr>
              <a:cxnSpLocks/>
              <a:stCxn id="29" idx="0"/>
            </p:cNvCxnSpPr>
            <p:nvPr/>
          </p:nvCxnSpPr>
          <p:spPr>
            <a:xfrm flipV="1">
              <a:off x="3144434" y="1268624"/>
              <a:ext cx="0" cy="2088282"/>
            </a:xfrm>
            <a:prstGeom prst="line">
              <a:avLst/>
            </a:prstGeom>
            <a:ln w="22225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BB907A1D-33C6-494E-8E3C-8273F0BF5753}"/>
                </a:ext>
              </a:extLst>
            </p:cNvPr>
            <p:cNvCxnSpPr>
              <a:cxnSpLocks/>
              <a:stCxn id="29" idx="2"/>
            </p:cNvCxnSpPr>
            <p:nvPr/>
          </p:nvCxnSpPr>
          <p:spPr>
            <a:xfrm>
              <a:off x="3144434" y="3644939"/>
              <a:ext cx="0" cy="2089326"/>
            </a:xfrm>
            <a:prstGeom prst="line">
              <a:avLst/>
            </a:prstGeom>
            <a:ln w="22225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30F686A-890E-4ED6-8964-F5C9F642F8E0}"/>
              </a:ext>
            </a:extLst>
          </p:cNvPr>
          <p:cNvGrpSpPr/>
          <p:nvPr/>
        </p:nvGrpSpPr>
        <p:grpSpPr>
          <a:xfrm flipH="1" flipV="1">
            <a:off x="7752187" y="1484313"/>
            <a:ext cx="144358" cy="4465637"/>
            <a:chOff x="3144088" y="980393"/>
            <a:chExt cx="144363" cy="4465640"/>
          </a:xfrm>
        </p:grpSpPr>
        <p:sp>
          <p:nvSpPr>
            <p:cNvPr id="33" name="Isosceles Triangle 20">
              <a:extLst>
                <a:ext uri="{FF2B5EF4-FFF2-40B4-BE49-F238E27FC236}">
                  <a16:creationId xmlns:a16="http://schemas.microsoft.com/office/drawing/2014/main" id="{96AD5B6F-D3E1-46B7-BC0A-D606EC95ED7B}"/>
                </a:ext>
              </a:extLst>
            </p:cNvPr>
            <p:cNvSpPr/>
            <p:nvPr/>
          </p:nvSpPr>
          <p:spPr>
            <a:xfrm rot="5400000">
              <a:off x="3072254" y="3142297"/>
              <a:ext cx="288032" cy="144363"/>
            </a:xfrm>
            <a:custGeom>
              <a:avLst/>
              <a:gdLst>
                <a:gd name="connsiteX0" fmla="*/ 0 w 288032"/>
                <a:gd name="connsiteY0" fmla="*/ 144363 h 144363"/>
                <a:gd name="connsiteX1" fmla="*/ 144016 w 288032"/>
                <a:gd name="connsiteY1" fmla="*/ 0 h 144363"/>
                <a:gd name="connsiteX2" fmla="*/ 288032 w 288032"/>
                <a:gd name="connsiteY2" fmla="*/ 144363 h 144363"/>
                <a:gd name="connsiteX3" fmla="*/ 0 w 288032"/>
                <a:gd name="connsiteY3" fmla="*/ 144363 h 144363"/>
                <a:gd name="connsiteX0" fmla="*/ 0 w 288032"/>
                <a:gd name="connsiteY0" fmla="*/ 144363 h 145278"/>
                <a:gd name="connsiteX1" fmla="*/ 144016 w 288032"/>
                <a:gd name="connsiteY1" fmla="*/ 0 h 145278"/>
                <a:gd name="connsiteX2" fmla="*/ 288032 w 288032"/>
                <a:gd name="connsiteY2" fmla="*/ 144363 h 145278"/>
                <a:gd name="connsiteX3" fmla="*/ 149822 w 288032"/>
                <a:gd name="connsiteY3" fmla="*/ 145278 h 145278"/>
                <a:gd name="connsiteX4" fmla="*/ 0 w 288032"/>
                <a:gd name="connsiteY4" fmla="*/ 144363 h 145278"/>
                <a:gd name="connsiteX0" fmla="*/ 149822 w 288032"/>
                <a:gd name="connsiteY0" fmla="*/ 145278 h 236718"/>
                <a:gd name="connsiteX1" fmla="*/ 0 w 288032"/>
                <a:gd name="connsiteY1" fmla="*/ 144363 h 236718"/>
                <a:gd name="connsiteX2" fmla="*/ 144016 w 288032"/>
                <a:gd name="connsiteY2" fmla="*/ 0 h 236718"/>
                <a:gd name="connsiteX3" fmla="*/ 288032 w 288032"/>
                <a:gd name="connsiteY3" fmla="*/ 144363 h 236718"/>
                <a:gd name="connsiteX4" fmla="*/ 241262 w 288032"/>
                <a:gd name="connsiteY4" fmla="*/ 236718 h 236718"/>
                <a:gd name="connsiteX0" fmla="*/ 149822 w 288032"/>
                <a:gd name="connsiteY0" fmla="*/ 145278 h 145278"/>
                <a:gd name="connsiteX1" fmla="*/ 0 w 288032"/>
                <a:gd name="connsiteY1" fmla="*/ 144363 h 145278"/>
                <a:gd name="connsiteX2" fmla="*/ 144016 w 288032"/>
                <a:gd name="connsiteY2" fmla="*/ 0 h 145278"/>
                <a:gd name="connsiteX3" fmla="*/ 288032 w 288032"/>
                <a:gd name="connsiteY3" fmla="*/ 144363 h 145278"/>
                <a:gd name="connsiteX0" fmla="*/ 0 w 288032"/>
                <a:gd name="connsiteY0" fmla="*/ 144363 h 144363"/>
                <a:gd name="connsiteX1" fmla="*/ 144016 w 288032"/>
                <a:gd name="connsiteY1" fmla="*/ 0 h 144363"/>
                <a:gd name="connsiteX2" fmla="*/ 288032 w 288032"/>
                <a:gd name="connsiteY2" fmla="*/ 144363 h 14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032" h="144363">
                  <a:moveTo>
                    <a:pt x="0" y="144363"/>
                  </a:moveTo>
                  <a:lnTo>
                    <a:pt x="144016" y="0"/>
                  </a:lnTo>
                  <a:lnTo>
                    <a:pt x="288032" y="144363"/>
                  </a:lnTo>
                </a:path>
              </a:pathLst>
            </a:custGeom>
            <a:noFill/>
            <a:ln w="22225" cap="rnd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>
                <a:solidFill>
                  <a:srgbClr val="FFFFFF"/>
                </a:solidFill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F28BD254-97A6-4E39-B7AD-BF4204D9329F}"/>
                </a:ext>
              </a:extLst>
            </p:cNvPr>
            <p:cNvCxnSpPr>
              <a:cxnSpLocks/>
              <a:stCxn id="33" idx="0"/>
            </p:cNvCxnSpPr>
            <p:nvPr/>
          </p:nvCxnSpPr>
          <p:spPr>
            <a:xfrm flipH="1" flipV="1">
              <a:off x="3144088" y="980393"/>
              <a:ext cx="0" cy="2090070"/>
            </a:xfrm>
            <a:prstGeom prst="line">
              <a:avLst/>
            </a:prstGeom>
            <a:ln w="22225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E4A778B-FCF7-4F7B-87E5-4A6A71BCA031}"/>
                </a:ext>
              </a:extLst>
            </p:cNvPr>
            <p:cNvCxnSpPr>
              <a:cxnSpLocks/>
              <a:stCxn id="33" idx="2"/>
            </p:cNvCxnSpPr>
            <p:nvPr/>
          </p:nvCxnSpPr>
          <p:spPr>
            <a:xfrm flipH="1">
              <a:off x="3144088" y="3358495"/>
              <a:ext cx="0" cy="2087538"/>
            </a:xfrm>
            <a:prstGeom prst="line">
              <a:avLst/>
            </a:prstGeom>
            <a:ln w="22225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A18E4002-1FEE-ED95-34CE-CE286A4C8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9C7C073-90C6-D80B-23B0-49278D3E71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484784"/>
            <a:ext cx="3311996" cy="360104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4362EF2-C19C-E7E6-6367-157F5D8D07C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040216" y="1484992"/>
            <a:ext cx="3311997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C859A59-AD46-E73C-C091-22AAAD74C8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39346" y="1484992"/>
            <a:ext cx="3313308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51875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CBEDBAD-C05C-474F-85F1-93B77CA62341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839788" y="2636913"/>
            <a:ext cx="2087860" cy="3312368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5087888" y="2636913"/>
            <a:ext cx="2016224" cy="3312368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2999656" y="2636913"/>
            <a:ext cx="2016223" cy="3312368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7176121" y="2636913"/>
            <a:ext cx="2016224" cy="3312368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27"/>
          </p:nvPr>
        </p:nvSpPr>
        <p:spPr>
          <a:xfrm>
            <a:off x="9264352" y="2636913"/>
            <a:ext cx="2087861" cy="3312368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28" hasCustomPrompt="1"/>
          </p:nvPr>
        </p:nvSpPr>
        <p:spPr>
          <a:xfrm>
            <a:off x="839788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9" hasCustomPrompt="1"/>
          </p:nvPr>
        </p:nvSpPr>
        <p:spPr>
          <a:xfrm>
            <a:off x="2999973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5088205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37" name="Picture Placeholder 7"/>
          <p:cNvSpPr>
            <a:spLocks noGrp="1"/>
          </p:cNvSpPr>
          <p:nvPr>
            <p:ph type="pic" sz="quarter" idx="31" hasCustomPrompt="1"/>
          </p:nvPr>
        </p:nvSpPr>
        <p:spPr>
          <a:xfrm>
            <a:off x="7176120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38" name="Picture Placeholder 7"/>
          <p:cNvSpPr>
            <a:spLocks noGrp="1"/>
          </p:cNvSpPr>
          <p:nvPr>
            <p:ph type="pic" sz="quarter" idx="32" hasCustomPrompt="1"/>
          </p:nvPr>
        </p:nvSpPr>
        <p:spPr>
          <a:xfrm>
            <a:off x="9264352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E5DF03-27C4-7998-824E-CCC490118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98434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B72CFCE2-4C23-5680-D350-207A42E51C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76251"/>
            <a:ext cx="10512425" cy="43247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Name 1">
            <a:extLst>
              <a:ext uri="{FF2B5EF4-FFF2-40B4-BE49-F238E27FC236}">
                <a16:creationId xmlns:a16="http://schemas.microsoft.com/office/drawing/2014/main" id="{DF7E82B0-35F7-EFC0-4A90-D12DE1F591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161" y="2926703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A33ADC7E-F455-F606-457B-1B9FD48E8AC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840164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6" name="Name 2">
            <a:extLst>
              <a:ext uri="{FF2B5EF4-FFF2-40B4-BE49-F238E27FC236}">
                <a16:creationId xmlns:a16="http://schemas.microsoft.com/office/drawing/2014/main" id="{401D8DE7-9F27-B882-8414-6AE61B3825E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11997" y="2926059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3E4D87B6-D17C-D88C-D5A9-E746F49D8E65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2711998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7" name="Name 3">
            <a:extLst>
              <a:ext uri="{FF2B5EF4-FFF2-40B4-BE49-F238E27FC236}">
                <a16:creationId xmlns:a16="http://schemas.microsoft.com/office/drawing/2014/main" id="{0E03E655-B5F9-2BA8-4A98-D20F91FA9D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84205" y="2926703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8BEF38E8-DFB0-E86C-8D08-30F67FE3D142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584206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8" name="Name 4">
            <a:extLst>
              <a:ext uri="{FF2B5EF4-FFF2-40B4-BE49-F238E27FC236}">
                <a16:creationId xmlns:a16="http://schemas.microsoft.com/office/drawing/2014/main" id="{62D008A4-507C-286E-9521-D90248428A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56413" y="2926703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5FA5607C-24CF-B70E-ED3D-2A31155E79C5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456414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9" name="Name 5">
            <a:extLst>
              <a:ext uri="{FF2B5EF4-FFF2-40B4-BE49-F238E27FC236}">
                <a16:creationId xmlns:a16="http://schemas.microsoft.com/office/drawing/2014/main" id="{6B14877D-A9E7-1347-F21C-C8C229D6DA6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28621" y="2926703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098ED3C0-1B7E-4F0F-41F7-334494F697B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328622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Name 6">
            <a:extLst>
              <a:ext uri="{FF2B5EF4-FFF2-40B4-BE49-F238E27FC236}">
                <a16:creationId xmlns:a16="http://schemas.microsoft.com/office/drawing/2014/main" id="{74F5C21A-F341-32FE-4C49-9EEB7C5DDD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9788" y="5300564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DD374C09-9450-4BB6-CD87-6BDE9D66DFAA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839791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6" name="Name 7">
            <a:extLst>
              <a:ext uri="{FF2B5EF4-FFF2-40B4-BE49-F238E27FC236}">
                <a16:creationId xmlns:a16="http://schemas.microsoft.com/office/drawing/2014/main" id="{9E298D25-0255-A797-1B01-AE222EE7E2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711624" y="5299920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E3B3223B-D25C-EBA4-7F96-951D640F206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711625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7" name="Name 8">
            <a:extLst>
              <a:ext uri="{FF2B5EF4-FFF2-40B4-BE49-F238E27FC236}">
                <a16:creationId xmlns:a16="http://schemas.microsoft.com/office/drawing/2014/main" id="{1088B019-CE23-11A6-C29D-A451CCBB06D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83832" y="5300564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58E4EDB7-A1A8-481C-EE3B-BF7DBAFD0BA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4583833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8" name="Name 9">
            <a:extLst>
              <a:ext uri="{FF2B5EF4-FFF2-40B4-BE49-F238E27FC236}">
                <a16:creationId xmlns:a16="http://schemas.microsoft.com/office/drawing/2014/main" id="{9D55F342-19BA-E78F-6D5D-4C044447E44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456040" y="5300564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FB556804-CB64-8F90-383F-BF25F416BAB5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456041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9" name="Name 10">
            <a:extLst>
              <a:ext uri="{FF2B5EF4-FFF2-40B4-BE49-F238E27FC236}">
                <a16:creationId xmlns:a16="http://schemas.microsoft.com/office/drawing/2014/main" id="{75C65CFE-B845-E805-EF29-780DD2B9960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8248" y="5300564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5" name="Picture Placeholder 10">
            <a:extLst>
              <a:ext uri="{FF2B5EF4-FFF2-40B4-BE49-F238E27FC236}">
                <a16:creationId xmlns:a16="http://schemas.microsoft.com/office/drawing/2014/main" id="{D10D6C41-061C-FB51-84E2-CDC8DACC5AE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8328249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8574857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D53C17A-290F-4EF9-B4CC-543B2A377FC1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1" y="1302237"/>
            <a:ext cx="8640960" cy="398571"/>
          </a:xfrm>
        </p:spPr>
        <p:txBody>
          <a:bodyPr anchor="b" anchorCtr="0">
            <a:spAutoFit/>
          </a:bodyPr>
          <a:lstStyle>
            <a:lvl1pPr>
              <a:defRPr sz="2800" cap="all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1D3B9E-AB15-57C1-C20D-44700F00B0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4130" y="1773238"/>
            <a:ext cx="8642350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29C1F42-ADC5-7DB1-9BE6-1A8F474CEBA9}"/>
              </a:ext>
            </a:extLst>
          </p:cNvPr>
          <p:cNvCxnSpPr/>
          <p:nvPr userDrawn="1"/>
        </p:nvCxnSpPr>
        <p:spPr>
          <a:xfrm>
            <a:off x="10128448" y="3429000"/>
            <a:ext cx="2063552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C812A25-B3DF-740A-1718-F98D480A1DC5}"/>
              </a:ext>
            </a:extLst>
          </p:cNvPr>
          <p:cNvCxnSpPr/>
          <p:nvPr userDrawn="1"/>
        </p:nvCxnSpPr>
        <p:spPr>
          <a:xfrm>
            <a:off x="0" y="3429000"/>
            <a:ext cx="2063552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858414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A0742762-E718-2432-C710-FAC93FA733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2855136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3425F00-62F8-4BFC-8084-825D130BEC52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1" y="1302237"/>
            <a:ext cx="8640960" cy="398571"/>
          </a:xfrm>
        </p:spPr>
        <p:txBody>
          <a:bodyPr anchor="b" anchorCtr="0">
            <a:spAutoFit/>
          </a:bodyPr>
          <a:lstStyle>
            <a:lvl1pPr>
              <a:defRPr sz="2800" cap="all"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1D3B9E-AB15-57C1-C20D-44700F00B0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4130" y="1773238"/>
            <a:ext cx="8642350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84E85E0-05F7-D82B-25CA-E03FD6E4FA1F}"/>
              </a:ext>
            </a:extLst>
          </p:cNvPr>
          <p:cNvCxnSpPr/>
          <p:nvPr userDrawn="1"/>
        </p:nvCxnSpPr>
        <p:spPr>
          <a:xfrm>
            <a:off x="10128448" y="3429000"/>
            <a:ext cx="2063552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77BDD1-371B-D9A7-455F-0A324506F96A}"/>
              </a:ext>
            </a:extLst>
          </p:cNvPr>
          <p:cNvCxnSpPr/>
          <p:nvPr userDrawn="1"/>
        </p:nvCxnSpPr>
        <p:spPr>
          <a:xfrm>
            <a:off x="0" y="3429000"/>
            <a:ext cx="2063552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93598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7D32B3B0-8067-BF0D-E63B-143A2216EF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5710272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94C3712-A568-4575-8EE4-6F8EEFF57A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777649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777649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738118"/>
            <a:ext cx="7776492" cy="1523494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0" cap="all" baseline="0">
                <a:solidFill>
                  <a:schemeClr val="accent4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C544558E-605F-1586-41EF-DD234A07B8EC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057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8D9DCDB-5424-4901-B86F-FFC06BB089B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1990836-A4D7-C075-59A9-5BE8FA30DEF8}"/>
              </a:ext>
            </a:extLst>
          </p:cNvPr>
          <p:cNvCxnSpPr>
            <a:cxnSpLocks/>
            <a:stCxn id="17" idx="3"/>
          </p:cNvCxnSpPr>
          <p:nvPr userDrawn="1"/>
        </p:nvCxnSpPr>
        <p:spPr>
          <a:xfrm flipV="1">
            <a:off x="10416480" y="3429000"/>
            <a:ext cx="1775520" cy="211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28356-60F6-B15A-AB27-B8BE9253A315}"/>
              </a:ext>
            </a:extLst>
          </p:cNvPr>
          <p:cNvCxnSpPr>
            <a:cxnSpLocks/>
            <a:endCxn id="15" idx="1"/>
          </p:cNvCxnSpPr>
          <p:nvPr userDrawn="1"/>
        </p:nvCxnSpPr>
        <p:spPr>
          <a:xfrm>
            <a:off x="0" y="3429000"/>
            <a:ext cx="1775520" cy="211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6231D-EA37-1C36-8BFF-3905B3392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75520" y="836712"/>
            <a:ext cx="2304256" cy="83869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 cap="all" baseline="0">
                <a:solidFill>
                  <a:schemeClr val="accent4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D679562-FF68-FA36-3678-5270F196577C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112225" y="837178"/>
            <a:ext cx="2304256" cy="83869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 cap="all" baseline="0">
                <a:solidFill>
                  <a:schemeClr val="accent4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08ADC11-458D-16A3-1713-B1755A47C1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943872" y="837178"/>
            <a:ext cx="2304256" cy="83869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 cap="all" baseline="0">
                <a:solidFill>
                  <a:schemeClr val="accent4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B765316B-55F9-1613-E594-BD88960F87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75520" y="1773238"/>
            <a:ext cx="2304256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E94F220-14EB-5018-EA77-E99FDC69E4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43872" y="1773238"/>
            <a:ext cx="2304256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C966D98-9643-33AE-7FCB-6306652194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12224" y="1773238"/>
            <a:ext cx="2304256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189AAD9-8AA7-381A-A69F-17B96F2C58A6}"/>
              </a:ext>
            </a:extLst>
          </p:cNvPr>
          <p:cNvCxnSpPr>
            <a:cxnSpLocks/>
            <a:stCxn id="15" idx="3"/>
            <a:endCxn id="16" idx="1"/>
          </p:cNvCxnSpPr>
          <p:nvPr userDrawn="1"/>
        </p:nvCxnSpPr>
        <p:spPr>
          <a:xfrm>
            <a:off x="4079776" y="3429211"/>
            <a:ext cx="864096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91AC773-C5E1-7EE5-A892-B9EA1B9BA872}"/>
              </a:ext>
            </a:extLst>
          </p:cNvPr>
          <p:cNvCxnSpPr>
            <a:cxnSpLocks/>
            <a:stCxn id="16" idx="3"/>
            <a:endCxn id="17" idx="1"/>
          </p:cNvCxnSpPr>
          <p:nvPr userDrawn="1"/>
        </p:nvCxnSpPr>
        <p:spPr>
          <a:xfrm>
            <a:off x="7248128" y="3429211"/>
            <a:ext cx="864096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540039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es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E02714D-432F-4323-B822-15EAABFD4AD9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28356-60F6-B15A-AB27-B8BE9253A315}"/>
              </a:ext>
            </a:extLst>
          </p:cNvPr>
          <p:cNvCxnSpPr>
            <a:cxnSpLocks/>
          </p:cNvCxnSpPr>
          <p:nvPr userDrawn="1"/>
        </p:nvCxnSpPr>
        <p:spPr>
          <a:xfrm>
            <a:off x="0" y="1916832"/>
            <a:ext cx="12192000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6231D-EA37-1C36-8BFF-3905B3392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75520" y="1124744"/>
            <a:ext cx="2304256" cy="1584176"/>
          </a:xfrm>
          <a:solidFill>
            <a:srgbClr val="EEB6F2"/>
          </a:solidFill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 cap="all" baseline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D679562-FF68-FA36-3678-5270F196577C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112225" y="1124744"/>
            <a:ext cx="2304256" cy="1584176"/>
          </a:xfrm>
          <a:solidFill>
            <a:srgbClr val="EEB6F2"/>
          </a:solidFill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 cap="all" baseline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08ADC11-458D-16A3-1713-B1755A47C1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943872" y="1124744"/>
            <a:ext cx="2304256" cy="1584176"/>
          </a:xfrm>
          <a:solidFill>
            <a:srgbClr val="EEB6F2"/>
          </a:solidFill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 cap="all" baseline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B765316B-55F9-1613-E594-BD88960F87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75520" y="2996952"/>
            <a:ext cx="2304256" cy="266429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E94F220-14EB-5018-EA77-E99FDC69E4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43872" y="2996952"/>
            <a:ext cx="2304256" cy="266429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C966D98-9643-33AE-7FCB-6306652194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12224" y="2996952"/>
            <a:ext cx="2304256" cy="266429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5D6574B3-B9CB-4DC9-0A36-7CF04147DFDE}"/>
              </a:ext>
            </a:extLst>
          </p:cNvPr>
          <p:cNvSpPr/>
          <p:nvPr userDrawn="1"/>
        </p:nvSpPr>
        <p:spPr>
          <a:xfrm flipV="1">
            <a:off x="9084352" y="2883080"/>
            <a:ext cx="360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96C16F76-DDE8-8D4C-436A-37E2AF930B92}"/>
              </a:ext>
            </a:extLst>
          </p:cNvPr>
          <p:cNvSpPr/>
          <p:nvPr userDrawn="1"/>
        </p:nvSpPr>
        <p:spPr>
          <a:xfrm flipV="1">
            <a:off x="5916000" y="2883080"/>
            <a:ext cx="360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AB30005D-B4E0-FCB5-FF95-0866AA0CF64D}"/>
              </a:ext>
            </a:extLst>
          </p:cNvPr>
          <p:cNvSpPr/>
          <p:nvPr userDrawn="1"/>
        </p:nvSpPr>
        <p:spPr>
          <a:xfrm flipV="1">
            <a:off x="2747648" y="2883080"/>
            <a:ext cx="360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48722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C3B68D-0321-4245-9A9F-E14F9B4D559F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1D3B9E-AB15-57C1-C20D-44700F00B0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51584" y="-314994"/>
            <a:ext cx="7487442" cy="7488410"/>
          </a:xfrm>
          <a:prstGeom prst="ellipse">
            <a:avLst/>
          </a:prstGeom>
          <a:ln w="22225">
            <a:solidFill>
              <a:schemeClr val="accent4"/>
            </a:solidFill>
          </a:ln>
        </p:spPr>
        <p:txBody>
          <a:bodyPr lIns="0" tIns="360000" rIns="0" bIns="360000" anchor="ctr" anchorCtr="0"/>
          <a:lstStyle>
            <a:lvl1pPr marL="0" indent="0" algn="ctr">
              <a:buFontTx/>
              <a:buNone/>
              <a:defRPr sz="3600" b="1">
                <a:solidFill>
                  <a:schemeClr val="bg1"/>
                </a:solidFill>
                <a:latin typeface="+mj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1600" b="1">
                <a:solidFill>
                  <a:schemeClr val="accent4"/>
                </a:solidFill>
                <a:latin typeface="+mj-lt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1990836-A4D7-C075-59A9-5BE8FA30DEF8}"/>
              </a:ext>
            </a:extLst>
          </p:cNvPr>
          <p:cNvCxnSpPr>
            <a:cxnSpLocks/>
          </p:cNvCxnSpPr>
          <p:nvPr userDrawn="1"/>
        </p:nvCxnSpPr>
        <p:spPr>
          <a:xfrm>
            <a:off x="9624392" y="3429000"/>
            <a:ext cx="2567608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28356-60F6-B15A-AB27-B8BE9253A315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2567608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19298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5223BCA8-5BBD-46E9-7917-9AD049DEDAA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2855136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70A96-6606-436A-A3E2-1A8AE6E1025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1D3B9E-AB15-57C1-C20D-44700F00B0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51584" y="1773238"/>
            <a:ext cx="7487442" cy="3311946"/>
          </a:xfrm>
          <a:prstGeom prst="rect">
            <a:avLst/>
          </a:prstGeom>
          <a:ln w="22225">
            <a:noFill/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3600" b="1">
                <a:solidFill>
                  <a:schemeClr val="bg1"/>
                </a:solidFill>
                <a:latin typeface="+mj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1600" b="1">
                <a:solidFill>
                  <a:schemeClr val="accent4"/>
                </a:solidFill>
                <a:latin typeface="+mj-lt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3F09D8-6DED-F47E-3684-2B125E295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76250"/>
            <a:ext cx="10512425" cy="100853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21928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8BF5F-31BE-4AA5-9D58-C834AFDADA82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2F3326-D0DE-CE8D-6DEF-7258561AD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408006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61D3F-B523-4DE0-B053-5ADEEEC457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4336188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_you_contact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63302E9C-03F9-AD37-71C5-CB420EEEB0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91400" y="4"/>
            <a:ext cx="4800601" cy="685799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4655339D-CE50-4F7C-9CE4-9BCDAF0F31B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58A6F022-C390-31DD-2F94-3F81F685B5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7" y="4581526"/>
            <a:ext cx="5616253" cy="1368424"/>
          </a:xfrm>
        </p:spPr>
        <p:txBody>
          <a:bodyPr>
            <a:normAutofit/>
          </a:bodyPr>
          <a:lstStyle>
            <a:lvl1pPr marL="0" indent="0" algn="l">
              <a:spcBef>
                <a:spcPts val="200"/>
              </a:spcBef>
              <a:buFontTx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0" indent="0" algn="l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2pPr>
            <a:lvl3pPr marL="0" indent="0" algn="ctr">
              <a:spcBef>
                <a:spcPts val="200"/>
              </a:spcBef>
              <a:buFontTx/>
              <a:buNone/>
              <a:defRPr sz="1000"/>
            </a:lvl3pPr>
            <a:lvl4pPr marL="0" indent="0" algn="ctr">
              <a:spcBef>
                <a:spcPts val="200"/>
              </a:spcBef>
              <a:buFontTx/>
              <a:buNone/>
              <a:defRPr sz="1000"/>
            </a:lvl4pPr>
            <a:lvl5pPr marL="0" indent="0" algn="ctr">
              <a:spcBef>
                <a:spcPts val="200"/>
              </a:spcBef>
              <a:buFontTx/>
              <a:buNone/>
              <a:defRPr sz="1000"/>
            </a:lvl5pPr>
          </a:lstStyle>
          <a:p>
            <a:pPr lvl="0"/>
            <a:r>
              <a:rPr lang="en-GB" noProof="0" dirty="0"/>
              <a:t>Your contact details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1F19C-11B7-9B3A-3E25-348CFA875E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08719"/>
            <a:ext cx="5616252" cy="3384377"/>
          </a:xfrm>
        </p:spPr>
        <p:txBody>
          <a:bodyPr anchor="t" anchorCtr="0"/>
          <a:lstStyle>
            <a:lvl1pPr algn="l">
              <a:defRPr sz="60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hank you Text.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52FDE655-5392-82DA-4052-311ACF5B95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9678730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_you_contac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CDFBAD56-35C5-AB55-A5D1-C5E41F1AFB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91400" y="4"/>
            <a:ext cx="4800601" cy="685799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23F1DA25-7882-4695-959C-D7E9FA900BE5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9E6220C8-E203-93F0-08FA-C345CE09125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7A7C66F5-03A7-6FBA-75BE-55A2071C0A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7" y="4581526"/>
            <a:ext cx="5616253" cy="1368424"/>
          </a:xfrm>
        </p:spPr>
        <p:txBody>
          <a:bodyPr>
            <a:normAutofit/>
          </a:bodyPr>
          <a:lstStyle>
            <a:lvl1pPr marL="0" indent="0" algn="l">
              <a:spcBef>
                <a:spcPts val="200"/>
              </a:spcBef>
              <a:buFontTx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0" indent="0" algn="l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2pPr>
            <a:lvl3pPr marL="0" indent="0" algn="ctr">
              <a:spcBef>
                <a:spcPts val="200"/>
              </a:spcBef>
              <a:buFontTx/>
              <a:buNone/>
              <a:defRPr sz="1000"/>
            </a:lvl3pPr>
            <a:lvl4pPr marL="0" indent="0" algn="ctr">
              <a:spcBef>
                <a:spcPts val="200"/>
              </a:spcBef>
              <a:buFontTx/>
              <a:buNone/>
              <a:defRPr sz="1000"/>
            </a:lvl4pPr>
            <a:lvl5pPr marL="0" indent="0" algn="ctr">
              <a:spcBef>
                <a:spcPts val="200"/>
              </a:spcBef>
              <a:buFontTx/>
              <a:buNone/>
              <a:defRPr sz="1000"/>
            </a:lvl5pPr>
          </a:lstStyle>
          <a:p>
            <a:pPr lvl="0"/>
            <a:r>
              <a:rPr lang="en-GB" noProof="0" dirty="0"/>
              <a:t>Your contact details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9DE649F-CF76-1C1F-181F-42E3FBDF4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08719"/>
            <a:ext cx="5616252" cy="3384377"/>
          </a:xfrm>
        </p:spPr>
        <p:txBody>
          <a:bodyPr anchor="t" anchorCtr="0"/>
          <a:lstStyle>
            <a:lvl1pPr algn="l">
              <a:defRPr sz="6000" cap="all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hank you Text.</a:t>
            </a:r>
          </a:p>
        </p:txBody>
      </p:sp>
    </p:spTree>
    <p:extLst>
      <p:ext uri="{BB962C8B-B14F-4D97-AF65-F5344CB8AC3E}">
        <p14:creationId xmlns:p14="http://schemas.microsoft.com/office/powerpoint/2010/main" val="135016400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_yo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32C55D5E-9B9D-5772-5594-2BF0EB6F664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11" name="logo">
            <a:extLst>
              <a:ext uri="{FF2B5EF4-FFF2-40B4-BE49-F238E27FC236}">
                <a16:creationId xmlns:a16="http://schemas.microsoft.com/office/drawing/2014/main" id="{9A393F79-A538-C1C9-6B83-42202D837265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C18F76D0-F51E-4D2F-84B6-067070EE328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58A6F022-C390-31DD-2F94-3F81F685B5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7" y="4581526"/>
            <a:ext cx="8928621" cy="1368424"/>
          </a:xfrm>
        </p:spPr>
        <p:txBody>
          <a:bodyPr>
            <a:normAutofit/>
          </a:bodyPr>
          <a:lstStyle>
            <a:lvl1pPr marL="0" indent="0" algn="l">
              <a:spcBef>
                <a:spcPts val="200"/>
              </a:spcBef>
              <a:buFontTx/>
              <a:buNone/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00"/>
              </a:spcBef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 algn="ctr">
              <a:spcBef>
                <a:spcPts val="200"/>
              </a:spcBef>
              <a:buFontTx/>
              <a:buNone/>
              <a:defRPr sz="1000"/>
            </a:lvl3pPr>
            <a:lvl4pPr marL="0" indent="0" algn="ctr">
              <a:spcBef>
                <a:spcPts val="200"/>
              </a:spcBef>
              <a:buFontTx/>
              <a:buNone/>
              <a:defRPr sz="1000"/>
            </a:lvl4pPr>
            <a:lvl5pPr marL="0" indent="0" algn="ctr">
              <a:spcBef>
                <a:spcPts val="200"/>
              </a:spcBef>
              <a:buFontTx/>
              <a:buNone/>
              <a:defRPr sz="1000"/>
            </a:lvl5pPr>
          </a:lstStyle>
          <a:p>
            <a:pPr lvl="0"/>
            <a:r>
              <a:rPr lang="en-GB" noProof="0" dirty="0"/>
              <a:t>Your contact details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1F19C-11B7-9B3A-3E25-348CFA875E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08719"/>
            <a:ext cx="8928620" cy="3384377"/>
          </a:xfrm>
        </p:spPr>
        <p:txBody>
          <a:bodyPr anchor="t" anchorCtr="0"/>
          <a:lstStyle>
            <a:lvl1pPr algn="l">
              <a:defRPr sz="6000" cap="all" baseline="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hank you Text.</a:t>
            </a:r>
          </a:p>
        </p:txBody>
      </p:sp>
    </p:spTree>
    <p:extLst>
      <p:ext uri="{BB962C8B-B14F-4D97-AF65-F5344CB8AC3E}">
        <p14:creationId xmlns:p14="http://schemas.microsoft.com/office/powerpoint/2010/main" val="31917070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half_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6902E93-A141-5E96-0152-F9A712CF11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aurora">
            <a:extLst>
              <a:ext uri="{FF2B5EF4-FFF2-40B4-BE49-F238E27FC236}">
                <a16:creationId xmlns:a16="http://schemas.microsoft.com/office/drawing/2014/main" id="{26508106-5E38-02D5-4E7B-221FB175F3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00600" y="3429000"/>
            <a:ext cx="73914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C4B6DFE-BF48-45FF-B007-206C603F439E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525621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525621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999454"/>
            <a:ext cx="5256212" cy="2262158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0" cap="all" baseline="0">
                <a:solidFill>
                  <a:schemeClr val="accent4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112E01BB-2C32-E608-5918-498BB17903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5095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half_pictur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6902E93-A141-5E96-0152-F9A712CF11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aurora">
            <a:extLst>
              <a:ext uri="{FF2B5EF4-FFF2-40B4-BE49-F238E27FC236}">
                <a16:creationId xmlns:a16="http://schemas.microsoft.com/office/drawing/2014/main" id="{26508106-5E38-02D5-4E7B-221FB175F3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>
          <a:xfrm>
            <a:off x="4800600" y="3429000"/>
            <a:ext cx="73914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C4B6DFE-BF48-45FF-B007-206C603F439E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525621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525621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999454"/>
            <a:ext cx="5256212" cy="2262158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0" cap="all" baseline="0">
                <a:solidFill>
                  <a:schemeClr val="tx2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112E01BB-2C32-E608-5918-498BB17903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1053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half_picture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6902E93-A141-5E96-0152-F9A712CF11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94C3712-A568-4575-8EE4-6F8EEFF57A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7" name="logo">
            <a:extLst>
              <a:ext uri="{FF2B5EF4-FFF2-40B4-BE49-F238E27FC236}">
                <a16:creationId xmlns:a16="http://schemas.microsoft.com/office/drawing/2014/main" id="{FA6CE31D-AFCB-A574-5F10-1817640CE8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525621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525621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999454"/>
            <a:ext cx="5256212" cy="2262158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0" cap="all" baseline="0">
                <a:solidFill>
                  <a:schemeClr val="tx2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0945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half_picture_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6902E93-A141-5E96-0152-F9A712CF11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94C3712-A568-4575-8EE4-6F8EEFF57A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7" name="logo">
            <a:extLst>
              <a:ext uri="{FF2B5EF4-FFF2-40B4-BE49-F238E27FC236}">
                <a16:creationId xmlns:a16="http://schemas.microsoft.com/office/drawing/2014/main" id="{FA6CE31D-AFCB-A574-5F10-1817640CE8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525621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525621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999454"/>
            <a:ext cx="5256212" cy="2262158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0" cap="all" baseline="0">
                <a:solidFill>
                  <a:schemeClr val="tx2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68277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A170E4-E75D-4E6C-BB29-CF67620274C1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1609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3DFF2520-4C2C-3A75-1C6B-8DE06241C9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60AF0-8CCF-4C99-B69C-AF0C7B0031DD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07566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3DFF2520-4C2C-3A75-1C6B-8DE06241C9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H="1" flipV="1">
            <a:off x="0" y="0"/>
            <a:ext cx="6082374" cy="343176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60AF0-8CCF-4C99-B69C-AF0C7B0031DD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73373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een lines on a black background&#10;&#10;Description automatically generated">
            <a:extLst>
              <a:ext uri="{FF2B5EF4-FFF2-40B4-BE49-F238E27FC236}">
                <a16:creationId xmlns:a16="http://schemas.microsoft.com/office/drawing/2014/main" id="{29F356D2-7FFA-6DFD-C1C6-A1FF7AB87F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691E7-38E8-4782-AC4B-78EA6509C58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136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Green lines on a black background&#10;&#10;Description automatically generated">
            <a:extLst>
              <a:ext uri="{FF2B5EF4-FFF2-40B4-BE49-F238E27FC236}">
                <a16:creationId xmlns:a16="http://schemas.microsoft.com/office/drawing/2014/main" id="{7C0EE27B-7F31-E57A-0064-3F8CCF21D2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6DE0BD88-4C46-4C18-9F37-BC1A8FDD6C9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8928620" cy="1929759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0" cap="all" baseline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61304738-6820-3106-82CB-9DF67B7D0E0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7C4C74C6-D676-328B-8442-97D30CD178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8928103" cy="307777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99112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691E7-38E8-4782-AC4B-78EA6509C58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9" name="Picture 8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EA59CBD1-28C1-166B-97AA-DF171737F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5710272" y="283"/>
            <a:ext cx="6481728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3496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5131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7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3133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B72CFCE2-4C23-5680-D350-207A42E51C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4310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9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5464C746-32EA-276E-9BE5-29E2F766CE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H="1" flipV="1">
            <a:off x="0" y="0"/>
            <a:ext cx="6082374" cy="343176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42239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10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E326F19F-9936-DBD5-3799-8BCA781F30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5710272" y="283"/>
            <a:ext cx="6481728" cy="68574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5205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ntent_1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5223BCA8-5BBD-46E9-7917-9AD049DEDAA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2855136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70A96-6606-436A-A3E2-1A8AE6E1025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69B01B-7BC5-F878-B352-FB896AD9C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992A69D-D0BE-00AA-EA9B-2B2651D364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1484314"/>
            <a:ext cx="10512425" cy="4464966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887358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691E7-38E8-4782-AC4B-78EA6509C58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9" name="Picture 8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EA59CBD1-28C1-166B-97AA-DF171737F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35" t="10970" r="23416"/>
          <a:stretch/>
        </p:blipFill>
        <p:spPr>
          <a:xfrm>
            <a:off x="0" y="0"/>
            <a:ext cx="2495600" cy="3144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2862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ntent_13">
    <p:bg>
      <p:bgPr>
        <a:solidFill>
          <a:srgbClr val="FAEA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black leaf&#10;&#10;Description automatically generated">
            <a:extLst>
              <a:ext uri="{FF2B5EF4-FFF2-40B4-BE49-F238E27FC236}">
                <a16:creationId xmlns:a16="http://schemas.microsoft.com/office/drawing/2014/main" id="{D87A168E-E71E-AC4E-FA36-C41B5C8DE36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9" y="1484314"/>
            <a:ext cx="6551612" cy="446496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EDC571-E600-411F-9888-FA40037DFD3F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5E0ACA-DD18-060C-52C3-3A2FE1FFF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6552356" cy="7921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6975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ic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08787A62-BF0D-5239-1497-AF9814BEA1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E0F0DF5-CDB3-4AD6-857E-24BDED95695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7643CFB-76B7-4CC2-9BDE-889D1EDBA86A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423592" y="2056860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79454CB-9A83-9367-F798-1A7901DEFE0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2423790" y="2770591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6EC0D1-4516-EB78-A43F-2A4EC1E38A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423790" y="3494138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CF6A1AD-C673-375C-03D4-8D9B6AB1B9D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423790" y="4217685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50BB2C6-5629-C81E-53D7-03481446676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423790" y="4941232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5D89EA-B155-9D11-E24D-B425DF6A63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6274" y="2058099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1BD94DF-A14C-3234-7F58-6FF1E3861BB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3216274" y="2767447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73A56DE-8CDC-D50B-8597-D3393A3E2675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3216274" y="3490994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EB798DF-38CB-A57D-4D1F-D66B5718D64E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3216274" y="4214541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3F9E9AC-77C0-8D22-2763-F04F24C4D4CD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3216274" y="4938088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1619B94-E148-1281-D1E1-59489C36E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447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green and black leaf&#10;&#10;Description automatically generated">
            <a:extLst>
              <a:ext uri="{FF2B5EF4-FFF2-40B4-BE49-F238E27FC236}">
                <a16:creationId xmlns:a16="http://schemas.microsoft.com/office/drawing/2014/main" id="{C60D2406-AB3B-7985-311C-4FFD8316E4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0B3A1D03-FEE3-43B5-B712-2BD75FA24CC3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B9165BAE-20B8-64FB-ACE7-AFE1A825955D}"/>
              </a:ext>
            </a:extLst>
          </p:cNvPr>
          <p:cNvSpPr>
            <a:spLocks noChangeAspect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D6725EE6-704F-DE4B-452F-4143B9C6A4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8928103" cy="307777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C3599CE-2CFE-EA62-5C6D-A3E16EBF881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839787" y="4576616"/>
            <a:ext cx="8928619" cy="72008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7B6F32E-C559-9016-741E-071ADFEE6A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8928620" cy="1929759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0" cap="all" baseline="0">
                <a:solidFill>
                  <a:schemeClr val="accent4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390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ics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08787A62-BF0D-5239-1497-AF9814BEA1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E0F0DF5-CDB3-4AD6-857E-24BDED95695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7643CFB-76B7-4CC2-9BDE-889D1EDBA86A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49701" y="2056860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79454CB-9A83-9367-F798-1A7901DEFE0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849899" y="2770591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6EC0D1-4516-EB78-A43F-2A4EC1E38A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49899" y="3494138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CF6A1AD-C673-375C-03D4-8D9B6AB1B9D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49899" y="4217685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50BB2C6-5629-C81E-53D7-03481446676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49899" y="4941232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5D89EA-B155-9D11-E24D-B425DF6A63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42383" y="2058099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1BD94DF-A14C-3234-7F58-6FF1E3861BB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642383" y="2767447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73A56DE-8CDC-D50B-8597-D3393A3E2675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1642383" y="3490994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EB798DF-38CB-A57D-4D1F-D66B5718D64E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1642383" y="4214541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3F9E9AC-77C0-8D22-2763-F04F24C4D4CD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1642383" y="4938088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7743131-7667-FD38-1889-2E62733BE41A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6249930" y="2056860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D7D9FC5-939B-04A5-42B4-7616357D6033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6250128" y="2770591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07E4C7C-8DD4-DC12-A03B-349A2B8FDDA0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6250128" y="3494138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1EAD2EE4-B737-347B-C30E-066573476185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6250128" y="4217685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FE401BF-C9F8-CE92-6725-8276BECF9D7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6250128" y="4941232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400" b="0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37F375E-7BF0-AC59-B463-C74D638DB78D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7042612" y="2058099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F48BCBC-81E4-6A52-BC47-1A806AB6355D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7042612" y="2767447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26796C8-5F85-DDAA-105D-1A6B08FBC7FA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7042612" y="3490994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6B77B1D-3352-BFC1-8E20-44D2DBC78A10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7042612" y="4214541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D9D2A29-6812-6F3D-1C7C-77D306924D81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7042612" y="4938088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16C7CCEC-998F-FAF1-746C-98EEEAF8C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30193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9788" y="1484313"/>
            <a:ext cx="5112199" cy="446496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0016" y="1484313"/>
            <a:ext cx="5112197" cy="446496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3E105-C354-4A4A-847B-ABF26C821196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F5141B-AEF2-1202-F91F-CDA928085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65534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484313"/>
            <a:ext cx="10512426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844824"/>
            <a:ext cx="10512426" cy="41044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C38E41-4DC4-45F9-93A5-3E5AB243383C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694F3E9-4688-B808-7776-27E72DED4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8588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7" y="1484784"/>
            <a:ext cx="5112197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7" y="1844825"/>
            <a:ext cx="5112197" cy="410445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016" y="1484784"/>
            <a:ext cx="5112197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0016" y="1844824"/>
            <a:ext cx="5112197" cy="410445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23318-2F54-4C60-8956-9045F521880F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6E86DAA5-876D-462C-CBB1-A1A88EB6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01926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conten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484784"/>
            <a:ext cx="3311996" cy="360104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844824"/>
            <a:ext cx="3311996" cy="410422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39336" y="1844824"/>
            <a:ext cx="3312848" cy="41044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8040216" y="1484992"/>
            <a:ext cx="3311997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346" y="1484992"/>
            <a:ext cx="3313308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8040216" y="1844824"/>
            <a:ext cx="3311997" cy="41044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22792F1-D73D-4199-8613-C1FDD53594B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4899B6F-7F12-569A-130A-81055DFB0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11567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contents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844824"/>
            <a:ext cx="6912396" cy="41044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8112280" y="1484313"/>
            <a:ext cx="3239933" cy="446496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BCCA9B0-EF87-451B-AB34-0DA2D9EF73E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484784"/>
            <a:ext cx="6912396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4B81B3-1199-9902-0520-8B89ED896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4977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nd_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391400" y="4"/>
            <a:ext cx="4800601" cy="685799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5616252" cy="446496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588390-B60E-40C6-9259-7B7F409AAEA9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C670C07-BC5B-06CA-D8AB-621D2ACE3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5616252" cy="7921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751D1437-C6D6-AAC2-1CF2-9AD050DD8E9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50956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nd_picture_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391400" y="4"/>
            <a:ext cx="4800601" cy="685799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5616252" cy="446496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588390-B60E-40C6-9259-7B7F409AAEA9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C670C07-BC5B-06CA-D8AB-621D2ACE3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5616252" cy="7921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10E90C3-C75C-5514-333A-BCD0F889E2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89392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picture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5616252" cy="446496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F672F8-7597-416A-A3ED-3228CEBE8DE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816080" y="1484313"/>
            <a:ext cx="4536133" cy="4464967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9037C81-4C0C-8197-1ABD-B8238460F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7462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405E9-B120-492F-8432-99E6FB99B74C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39788" y="1484313"/>
            <a:ext cx="10512425" cy="4464967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7F563-0AB2-8EF9-6B5F-34ED4556D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6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green and black leaf&#10;&#10;Description automatically generated">
            <a:extLst>
              <a:ext uri="{FF2B5EF4-FFF2-40B4-BE49-F238E27FC236}">
                <a16:creationId xmlns:a16="http://schemas.microsoft.com/office/drawing/2014/main" id="{C60D2406-AB3B-7985-311C-4FFD8316E4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134A2F81-F5F8-4D06-89A6-9A4955836E4B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B9165BAE-20B8-64FB-ACE7-AFE1A825955D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D6725EE6-704F-DE4B-452F-4143B9C6A4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8928103" cy="307777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C3599CE-2CFE-EA62-5C6D-A3E16EBF88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76616"/>
            <a:ext cx="8928619" cy="72008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7B6F32E-C559-9016-741E-071ADFEE6A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8928620" cy="1929759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0" cap="all" normalizeH="0" baseline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0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half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096000" y="4"/>
            <a:ext cx="6096001" cy="6857996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 algn="l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4680148" cy="446496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8AED9-6C7E-4934-9634-A2173A3D5CA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4" name="logo">
            <a:extLst>
              <a:ext uri="{FF2B5EF4-FFF2-40B4-BE49-F238E27FC236}">
                <a16:creationId xmlns:a16="http://schemas.microsoft.com/office/drawing/2014/main" id="{BF4819A4-C320-0837-4F9E-14ED8014FDD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3A9D67B-9FDA-D51A-BA5E-9FCE4A161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4680148" cy="7921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575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half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096000" y="4"/>
            <a:ext cx="6096001" cy="6857996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 algn="l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4680148" cy="446496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8AED9-6C7E-4934-9634-A2173A3D5CA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3A9D67B-9FDA-D51A-BA5E-9FCE4A161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4680148" cy="7921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1C2F2EA7-E84E-1ACA-535F-09F293383F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53137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half_picture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096000" y="4"/>
            <a:ext cx="6096001" cy="6857996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 algn="l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9ECBB-88DD-4A1B-B6EB-0AD0E368AFC6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3A9D67B-9FDA-D51A-BA5E-9FCE4A161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4680148" cy="7921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06D16BAD-F185-148E-C559-914D0210E8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1484314"/>
            <a:ext cx="4680148" cy="4464966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3A5A4216-1AFA-65F6-D8D0-D3571ED4E1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93832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nd_w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4"/>
            <a:ext cx="12192001" cy="4293092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 algn="l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7" y="4581524"/>
            <a:ext cx="10512425" cy="136775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EDCAF-49D5-4998-854B-1D9819B26E11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084645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full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200"/>
            </a:lvl1pPr>
          </a:lstStyle>
          <a:p>
            <a:r>
              <a:rPr lang="en-GB" noProof="0" dirty="0"/>
              <a:t>Select shape and insert picture</a:t>
            </a:r>
          </a:p>
        </p:txBody>
      </p:sp>
      <p:sp>
        <p:nvSpPr>
          <p:cNvPr id="11" name="aurora">
            <a:extLst>
              <a:ext uri="{FF2B5EF4-FFF2-40B4-BE49-F238E27FC236}">
                <a16:creationId xmlns:a16="http://schemas.microsoft.com/office/drawing/2014/main" id="{D3D1ED17-0AC0-8747-E591-795AB7D274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>
          <a:xfrm>
            <a:off x="4800600" y="3429000"/>
            <a:ext cx="73914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4DF4A-2977-433A-9E09-5883630E1E3F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91FCFAB-2E72-A7DA-BE09-929733069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C374FAC-6B5D-6FBD-9263-D794FB510D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1484313"/>
            <a:ext cx="10512425" cy="446496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76B85AB-84F2-075B-5F61-04318207DC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462013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_challen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BDD78-1FF1-480E-8272-ED7902D8365B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839789" y="1768404"/>
            <a:ext cx="5112196" cy="432992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9"/>
          </p:nvPr>
        </p:nvSpPr>
        <p:spPr>
          <a:xfrm>
            <a:off x="839789" y="2345412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1"/>
          </p:nvPr>
        </p:nvSpPr>
        <p:spPr>
          <a:xfrm>
            <a:off x="840309" y="2921476"/>
            <a:ext cx="5111703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3"/>
          </p:nvPr>
        </p:nvSpPr>
        <p:spPr>
          <a:xfrm>
            <a:off x="839789" y="3497540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5"/>
          </p:nvPr>
        </p:nvSpPr>
        <p:spPr>
          <a:xfrm>
            <a:off x="839789" y="4073604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7"/>
          </p:nvPr>
        </p:nvSpPr>
        <p:spPr>
          <a:xfrm>
            <a:off x="839789" y="4649668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28"/>
          </p:nvPr>
        </p:nvSpPr>
        <p:spPr>
          <a:xfrm>
            <a:off x="6240016" y="1770587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9"/>
          </p:nvPr>
        </p:nvSpPr>
        <p:spPr>
          <a:xfrm>
            <a:off x="6240016" y="2346652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0"/>
          </p:nvPr>
        </p:nvSpPr>
        <p:spPr>
          <a:xfrm>
            <a:off x="6240016" y="2926183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30"/>
          </p:nvPr>
        </p:nvSpPr>
        <p:spPr>
          <a:xfrm>
            <a:off x="6240016" y="3505714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2"/>
          </p:nvPr>
        </p:nvSpPr>
        <p:spPr>
          <a:xfrm>
            <a:off x="6240016" y="4085245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4"/>
          </p:nvPr>
        </p:nvSpPr>
        <p:spPr>
          <a:xfrm>
            <a:off x="6240016" y="4664776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6"/>
          </p:nvPr>
        </p:nvSpPr>
        <p:spPr>
          <a:xfrm>
            <a:off x="6240016" y="5225732"/>
            <a:ext cx="5112197" cy="4355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31"/>
          </p:nvPr>
        </p:nvSpPr>
        <p:spPr>
          <a:xfrm>
            <a:off x="839789" y="5225732"/>
            <a:ext cx="5112196" cy="432048"/>
          </a:xfrm>
          <a:prstGeom prst="homePlate">
            <a:avLst>
              <a:gd name="adj" fmla="val 25286"/>
            </a:avLst>
          </a:prstGeom>
          <a:solidFill>
            <a:schemeClr val="tx2"/>
          </a:solidFill>
        </p:spPr>
        <p:txBody>
          <a:bodyPr lIns="180000" tIns="72000" rIns="180000" bIns="72000" anchor="ctr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spc="-3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44B25-4522-C76D-4413-A4CE0A0E9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3359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844824"/>
            <a:ext cx="3311996" cy="41044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8040216" y="1844824"/>
            <a:ext cx="3311997" cy="41044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4369203-DCD6-4B60-A1EB-6585998AEDE4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519936" y="3140968"/>
            <a:ext cx="1152128" cy="1152490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65B72B1-C82D-4E8E-A1A7-6E5CF1578050}"/>
              </a:ext>
            </a:extLst>
          </p:cNvPr>
          <p:cNvGrpSpPr/>
          <p:nvPr/>
        </p:nvGrpSpPr>
        <p:grpSpPr>
          <a:xfrm>
            <a:off x="4295799" y="1484313"/>
            <a:ext cx="144358" cy="4465637"/>
            <a:chOff x="3144433" y="1268624"/>
            <a:chExt cx="144363" cy="4465640"/>
          </a:xfrm>
        </p:grpSpPr>
        <p:sp>
          <p:nvSpPr>
            <p:cNvPr id="29" name="Isosceles Triangle 20">
              <a:extLst>
                <a:ext uri="{FF2B5EF4-FFF2-40B4-BE49-F238E27FC236}">
                  <a16:creationId xmlns:a16="http://schemas.microsoft.com/office/drawing/2014/main" id="{BD00601E-7157-4C2D-AF66-757140299A15}"/>
                </a:ext>
              </a:extLst>
            </p:cNvPr>
            <p:cNvSpPr/>
            <p:nvPr/>
          </p:nvSpPr>
          <p:spPr>
            <a:xfrm rot="5400000">
              <a:off x="3072599" y="3428741"/>
              <a:ext cx="288032" cy="144363"/>
            </a:xfrm>
            <a:custGeom>
              <a:avLst/>
              <a:gdLst>
                <a:gd name="connsiteX0" fmla="*/ 0 w 288032"/>
                <a:gd name="connsiteY0" fmla="*/ 144363 h 144363"/>
                <a:gd name="connsiteX1" fmla="*/ 144016 w 288032"/>
                <a:gd name="connsiteY1" fmla="*/ 0 h 144363"/>
                <a:gd name="connsiteX2" fmla="*/ 288032 w 288032"/>
                <a:gd name="connsiteY2" fmla="*/ 144363 h 144363"/>
                <a:gd name="connsiteX3" fmla="*/ 0 w 288032"/>
                <a:gd name="connsiteY3" fmla="*/ 144363 h 144363"/>
                <a:gd name="connsiteX0" fmla="*/ 0 w 288032"/>
                <a:gd name="connsiteY0" fmla="*/ 144363 h 145278"/>
                <a:gd name="connsiteX1" fmla="*/ 144016 w 288032"/>
                <a:gd name="connsiteY1" fmla="*/ 0 h 145278"/>
                <a:gd name="connsiteX2" fmla="*/ 288032 w 288032"/>
                <a:gd name="connsiteY2" fmla="*/ 144363 h 145278"/>
                <a:gd name="connsiteX3" fmla="*/ 149822 w 288032"/>
                <a:gd name="connsiteY3" fmla="*/ 145278 h 145278"/>
                <a:gd name="connsiteX4" fmla="*/ 0 w 288032"/>
                <a:gd name="connsiteY4" fmla="*/ 144363 h 145278"/>
                <a:gd name="connsiteX0" fmla="*/ 149822 w 288032"/>
                <a:gd name="connsiteY0" fmla="*/ 145278 h 236718"/>
                <a:gd name="connsiteX1" fmla="*/ 0 w 288032"/>
                <a:gd name="connsiteY1" fmla="*/ 144363 h 236718"/>
                <a:gd name="connsiteX2" fmla="*/ 144016 w 288032"/>
                <a:gd name="connsiteY2" fmla="*/ 0 h 236718"/>
                <a:gd name="connsiteX3" fmla="*/ 288032 w 288032"/>
                <a:gd name="connsiteY3" fmla="*/ 144363 h 236718"/>
                <a:gd name="connsiteX4" fmla="*/ 241262 w 288032"/>
                <a:gd name="connsiteY4" fmla="*/ 236718 h 236718"/>
                <a:gd name="connsiteX0" fmla="*/ 149822 w 288032"/>
                <a:gd name="connsiteY0" fmla="*/ 145278 h 145278"/>
                <a:gd name="connsiteX1" fmla="*/ 0 w 288032"/>
                <a:gd name="connsiteY1" fmla="*/ 144363 h 145278"/>
                <a:gd name="connsiteX2" fmla="*/ 144016 w 288032"/>
                <a:gd name="connsiteY2" fmla="*/ 0 h 145278"/>
                <a:gd name="connsiteX3" fmla="*/ 288032 w 288032"/>
                <a:gd name="connsiteY3" fmla="*/ 144363 h 145278"/>
                <a:gd name="connsiteX0" fmla="*/ 0 w 288032"/>
                <a:gd name="connsiteY0" fmla="*/ 144363 h 144363"/>
                <a:gd name="connsiteX1" fmla="*/ 144016 w 288032"/>
                <a:gd name="connsiteY1" fmla="*/ 0 h 144363"/>
                <a:gd name="connsiteX2" fmla="*/ 288032 w 288032"/>
                <a:gd name="connsiteY2" fmla="*/ 144363 h 14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032" h="144363">
                  <a:moveTo>
                    <a:pt x="0" y="144363"/>
                  </a:moveTo>
                  <a:lnTo>
                    <a:pt x="144016" y="0"/>
                  </a:lnTo>
                  <a:lnTo>
                    <a:pt x="288032" y="144363"/>
                  </a:lnTo>
                </a:path>
              </a:pathLst>
            </a:custGeom>
            <a:noFill/>
            <a:ln w="22225" cap="rnd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>
                <a:solidFill>
                  <a:srgbClr val="FFFFFF"/>
                </a:solidFill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15A9A77-8AB6-4FF6-B065-AD0D6583A36A}"/>
                </a:ext>
              </a:extLst>
            </p:cNvPr>
            <p:cNvCxnSpPr>
              <a:cxnSpLocks/>
              <a:stCxn id="29" idx="0"/>
            </p:cNvCxnSpPr>
            <p:nvPr/>
          </p:nvCxnSpPr>
          <p:spPr>
            <a:xfrm flipV="1">
              <a:off x="3144434" y="1268624"/>
              <a:ext cx="0" cy="2088282"/>
            </a:xfrm>
            <a:prstGeom prst="line">
              <a:avLst/>
            </a:prstGeom>
            <a:ln w="22225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BB907A1D-33C6-494E-8E3C-8273F0BF5753}"/>
                </a:ext>
              </a:extLst>
            </p:cNvPr>
            <p:cNvCxnSpPr>
              <a:cxnSpLocks/>
              <a:stCxn id="29" idx="2"/>
            </p:cNvCxnSpPr>
            <p:nvPr/>
          </p:nvCxnSpPr>
          <p:spPr>
            <a:xfrm>
              <a:off x="3144434" y="3644939"/>
              <a:ext cx="0" cy="2089325"/>
            </a:xfrm>
            <a:prstGeom prst="line">
              <a:avLst/>
            </a:prstGeom>
            <a:ln w="22225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30F686A-890E-4ED6-8964-F5C9F642F8E0}"/>
              </a:ext>
            </a:extLst>
          </p:cNvPr>
          <p:cNvGrpSpPr/>
          <p:nvPr/>
        </p:nvGrpSpPr>
        <p:grpSpPr>
          <a:xfrm flipH="1" flipV="1">
            <a:off x="7752187" y="1484313"/>
            <a:ext cx="144358" cy="4465637"/>
            <a:chOff x="3144088" y="980393"/>
            <a:chExt cx="144363" cy="4465640"/>
          </a:xfrm>
        </p:grpSpPr>
        <p:sp>
          <p:nvSpPr>
            <p:cNvPr id="33" name="Isosceles Triangle 20">
              <a:extLst>
                <a:ext uri="{FF2B5EF4-FFF2-40B4-BE49-F238E27FC236}">
                  <a16:creationId xmlns:a16="http://schemas.microsoft.com/office/drawing/2014/main" id="{96AD5B6F-D3E1-46B7-BC0A-D606EC95ED7B}"/>
                </a:ext>
              </a:extLst>
            </p:cNvPr>
            <p:cNvSpPr/>
            <p:nvPr/>
          </p:nvSpPr>
          <p:spPr>
            <a:xfrm rot="5400000">
              <a:off x="3072254" y="3142297"/>
              <a:ext cx="288032" cy="144363"/>
            </a:xfrm>
            <a:custGeom>
              <a:avLst/>
              <a:gdLst>
                <a:gd name="connsiteX0" fmla="*/ 0 w 288032"/>
                <a:gd name="connsiteY0" fmla="*/ 144363 h 144363"/>
                <a:gd name="connsiteX1" fmla="*/ 144016 w 288032"/>
                <a:gd name="connsiteY1" fmla="*/ 0 h 144363"/>
                <a:gd name="connsiteX2" fmla="*/ 288032 w 288032"/>
                <a:gd name="connsiteY2" fmla="*/ 144363 h 144363"/>
                <a:gd name="connsiteX3" fmla="*/ 0 w 288032"/>
                <a:gd name="connsiteY3" fmla="*/ 144363 h 144363"/>
                <a:gd name="connsiteX0" fmla="*/ 0 w 288032"/>
                <a:gd name="connsiteY0" fmla="*/ 144363 h 145278"/>
                <a:gd name="connsiteX1" fmla="*/ 144016 w 288032"/>
                <a:gd name="connsiteY1" fmla="*/ 0 h 145278"/>
                <a:gd name="connsiteX2" fmla="*/ 288032 w 288032"/>
                <a:gd name="connsiteY2" fmla="*/ 144363 h 145278"/>
                <a:gd name="connsiteX3" fmla="*/ 149822 w 288032"/>
                <a:gd name="connsiteY3" fmla="*/ 145278 h 145278"/>
                <a:gd name="connsiteX4" fmla="*/ 0 w 288032"/>
                <a:gd name="connsiteY4" fmla="*/ 144363 h 145278"/>
                <a:gd name="connsiteX0" fmla="*/ 149822 w 288032"/>
                <a:gd name="connsiteY0" fmla="*/ 145278 h 236718"/>
                <a:gd name="connsiteX1" fmla="*/ 0 w 288032"/>
                <a:gd name="connsiteY1" fmla="*/ 144363 h 236718"/>
                <a:gd name="connsiteX2" fmla="*/ 144016 w 288032"/>
                <a:gd name="connsiteY2" fmla="*/ 0 h 236718"/>
                <a:gd name="connsiteX3" fmla="*/ 288032 w 288032"/>
                <a:gd name="connsiteY3" fmla="*/ 144363 h 236718"/>
                <a:gd name="connsiteX4" fmla="*/ 241262 w 288032"/>
                <a:gd name="connsiteY4" fmla="*/ 236718 h 236718"/>
                <a:gd name="connsiteX0" fmla="*/ 149822 w 288032"/>
                <a:gd name="connsiteY0" fmla="*/ 145278 h 145278"/>
                <a:gd name="connsiteX1" fmla="*/ 0 w 288032"/>
                <a:gd name="connsiteY1" fmla="*/ 144363 h 145278"/>
                <a:gd name="connsiteX2" fmla="*/ 144016 w 288032"/>
                <a:gd name="connsiteY2" fmla="*/ 0 h 145278"/>
                <a:gd name="connsiteX3" fmla="*/ 288032 w 288032"/>
                <a:gd name="connsiteY3" fmla="*/ 144363 h 145278"/>
                <a:gd name="connsiteX0" fmla="*/ 0 w 288032"/>
                <a:gd name="connsiteY0" fmla="*/ 144363 h 144363"/>
                <a:gd name="connsiteX1" fmla="*/ 144016 w 288032"/>
                <a:gd name="connsiteY1" fmla="*/ 0 h 144363"/>
                <a:gd name="connsiteX2" fmla="*/ 288032 w 288032"/>
                <a:gd name="connsiteY2" fmla="*/ 144363 h 14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032" h="144363">
                  <a:moveTo>
                    <a:pt x="0" y="144363"/>
                  </a:moveTo>
                  <a:lnTo>
                    <a:pt x="144016" y="0"/>
                  </a:lnTo>
                  <a:lnTo>
                    <a:pt x="288032" y="144363"/>
                  </a:lnTo>
                </a:path>
              </a:pathLst>
            </a:custGeom>
            <a:noFill/>
            <a:ln w="22225" cap="rnd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>
                <a:solidFill>
                  <a:srgbClr val="FFFFFF"/>
                </a:solidFill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F28BD254-97A6-4E39-B7AD-BF4204D9329F}"/>
                </a:ext>
              </a:extLst>
            </p:cNvPr>
            <p:cNvCxnSpPr>
              <a:cxnSpLocks/>
              <a:stCxn id="33" idx="0"/>
            </p:cNvCxnSpPr>
            <p:nvPr/>
          </p:nvCxnSpPr>
          <p:spPr>
            <a:xfrm flipH="1" flipV="1">
              <a:off x="3144088" y="980393"/>
              <a:ext cx="0" cy="2090070"/>
            </a:xfrm>
            <a:prstGeom prst="line">
              <a:avLst/>
            </a:prstGeom>
            <a:ln w="22225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E4A778B-FCF7-4F7B-87E5-4A6A71BCA031}"/>
                </a:ext>
              </a:extLst>
            </p:cNvPr>
            <p:cNvCxnSpPr>
              <a:cxnSpLocks/>
              <a:stCxn id="33" idx="2"/>
            </p:cNvCxnSpPr>
            <p:nvPr/>
          </p:nvCxnSpPr>
          <p:spPr>
            <a:xfrm flipH="1">
              <a:off x="3144088" y="3358495"/>
              <a:ext cx="0" cy="2087538"/>
            </a:xfrm>
            <a:prstGeom prst="line">
              <a:avLst/>
            </a:prstGeom>
            <a:ln w="22225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A18E4002-1FEE-ED95-34CE-CE286A4C8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9C7C073-90C6-D80B-23B0-49278D3E71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484784"/>
            <a:ext cx="3311996" cy="360104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4362EF2-C19C-E7E6-6367-157F5D8D07C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040216" y="1484992"/>
            <a:ext cx="3311997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C859A59-AD46-E73C-C091-22AAAD74C8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39346" y="1484992"/>
            <a:ext cx="3313308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25126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CBEDBAD-C05C-474F-85F1-93B77CA62341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839788" y="2636912"/>
            <a:ext cx="2087860" cy="3312369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5087888" y="2636912"/>
            <a:ext cx="2016224" cy="3312369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2999656" y="2636912"/>
            <a:ext cx="2016223" cy="3312369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7176121" y="2636912"/>
            <a:ext cx="2016224" cy="3312369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27"/>
          </p:nvPr>
        </p:nvSpPr>
        <p:spPr>
          <a:xfrm>
            <a:off x="9264352" y="2636912"/>
            <a:ext cx="2087861" cy="3312369"/>
          </a:xfrm>
          <a:noFill/>
        </p:spPr>
        <p:txBody>
          <a:bodyPr lIns="0" tIns="0" rIns="0" bIns="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28" hasCustomPrompt="1"/>
          </p:nvPr>
        </p:nvSpPr>
        <p:spPr>
          <a:xfrm>
            <a:off x="839788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9" hasCustomPrompt="1"/>
          </p:nvPr>
        </p:nvSpPr>
        <p:spPr>
          <a:xfrm>
            <a:off x="2999973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5088205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37" name="Picture Placeholder 7"/>
          <p:cNvSpPr>
            <a:spLocks noGrp="1"/>
          </p:cNvSpPr>
          <p:nvPr>
            <p:ph type="pic" sz="quarter" idx="31" hasCustomPrompt="1"/>
          </p:nvPr>
        </p:nvSpPr>
        <p:spPr>
          <a:xfrm>
            <a:off x="7176120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38" name="Picture Placeholder 7"/>
          <p:cNvSpPr>
            <a:spLocks noGrp="1"/>
          </p:cNvSpPr>
          <p:nvPr>
            <p:ph type="pic" sz="quarter" idx="32" hasCustomPrompt="1"/>
          </p:nvPr>
        </p:nvSpPr>
        <p:spPr>
          <a:xfrm>
            <a:off x="9264352" y="1484784"/>
            <a:ext cx="1007795" cy="1008112"/>
          </a:xfrm>
          <a:noFill/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GB" noProof="0" dirty="0"/>
              <a:t>Click icon to add symbo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E5DF03-27C4-7998-824E-CCC490118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03728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B72CFCE2-4C23-5680-D350-207A42E51C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76251"/>
            <a:ext cx="10512425" cy="43247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Name 1">
            <a:extLst>
              <a:ext uri="{FF2B5EF4-FFF2-40B4-BE49-F238E27FC236}">
                <a16:creationId xmlns:a16="http://schemas.microsoft.com/office/drawing/2014/main" id="{DF7E82B0-35F7-EFC0-4A90-D12DE1F591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161" y="2926703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A33ADC7E-F455-F606-457B-1B9FD48E8AC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840164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Name 2">
            <a:extLst>
              <a:ext uri="{FF2B5EF4-FFF2-40B4-BE49-F238E27FC236}">
                <a16:creationId xmlns:a16="http://schemas.microsoft.com/office/drawing/2014/main" id="{401D8DE7-9F27-B882-8414-6AE61B3825E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11997" y="2926059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3E4D87B6-D17C-D88C-D5A9-E746F49D8E65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2711998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7" name="Name 3">
            <a:extLst>
              <a:ext uri="{FF2B5EF4-FFF2-40B4-BE49-F238E27FC236}">
                <a16:creationId xmlns:a16="http://schemas.microsoft.com/office/drawing/2014/main" id="{0E03E655-B5F9-2BA8-4A98-D20F91FA9D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84205" y="2926703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8BEF38E8-DFB0-E86C-8D08-30F67FE3D142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584206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8" name="Name 4">
            <a:extLst>
              <a:ext uri="{FF2B5EF4-FFF2-40B4-BE49-F238E27FC236}">
                <a16:creationId xmlns:a16="http://schemas.microsoft.com/office/drawing/2014/main" id="{62D008A4-507C-286E-9521-D90248428A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56413" y="2926703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5FA5607C-24CF-B70E-ED3D-2A31155E79C5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456414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9" name="Name 5">
            <a:extLst>
              <a:ext uri="{FF2B5EF4-FFF2-40B4-BE49-F238E27FC236}">
                <a16:creationId xmlns:a16="http://schemas.microsoft.com/office/drawing/2014/main" id="{6B14877D-A9E7-1347-F21C-C8C229D6DA6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28621" y="2926703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098ED3C0-1B7E-4F0F-41F7-334494F697B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328622" y="1340768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Name 6">
            <a:extLst>
              <a:ext uri="{FF2B5EF4-FFF2-40B4-BE49-F238E27FC236}">
                <a16:creationId xmlns:a16="http://schemas.microsoft.com/office/drawing/2014/main" id="{74F5C21A-F341-32FE-4C49-9EEB7C5DDD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9788" y="5300564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DD374C09-9450-4BB6-CD87-6BDE9D66DFAA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839791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6" name="Name 7">
            <a:extLst>
              <a:ext uri="{FF2B5EF4-FFF2-40B4-BE49-F238E27FC236}">
                <a16:creationId xmlns:a16="http://schemas.microsoft.com/office/drawing/2014/main" id="{9E298D25-0255-A797-1B01-AE222EE7E2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711624" y="5299920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E3B3223B-D25C-EBA4-7F96-951D640F206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711625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7" name="Name 8">
            <a:extLst>
              <a:ext uri="{FF2B5EF4-FFF2-40B4-BE49-F238E27FC236}">
                <a16:creationId xmlns:a16="http://schemas.microsoft.com/office/drawing/2014/main" id="{1088B019-CE23-11A6-C29D-A451CCBB06D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83832" y="5300564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58E4EDB7-A1A8-481C-EE3B-BF7DBAFD0BA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4583833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8" name="Name 9">
            <a:extLst>
              <a:ext uri="{FF2B5EF4-FFF2-40B4-BE49-F238E27FC236}">
                <a16:creationId xmlns:a16="http://schemas.microsoft.com/office/drawing/2014/main" id="{9D55F342-19BA-E78F-6D5D-4C044447E44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456040" y="5300564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FB556804-CB64-8F90-383F-BF25F416BAB5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456041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9" name="Name 10">
            <a:extLst>
              <a:ext uri="{FF2B5EF4-FFF2-40B4-BE49-F238E27FC236}">
                <a16:creationId xmlns:a16="http://schemas.microsoft.com/office/drawing/2014/main" id="{75C65CFE-B845-E805-EF29-780DD2B9960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28248" y="5300564"/>
            <a:ext cx="1727819" cy="648716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200"/>
              </a:spcBef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10">
            <a:extLst>
              <a:ext uri="{FF2B5EF4-FFF2-40B4-BE49-F238E27FC236}">
                <a16:creationId xmlns:a16="http://schemas.microsoft.com/office/drawing/2014/main" id="{D10D6C41-061C-FB51-84E2-CDC8DACC5AE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8328249" y="3717032"/>
            <a:ext cx="1439232" cy="1440000"/>
          </a:xfrm>
          <a:prstGeom prst="ellipse">
            <a:avLst/>
          </a:prstGeom>
          <a:noFill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618391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D53C17A-290F-4EF9-B4CC-543B2A377FC1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1" y="1302237"/>
            <a:ext cx="8640960" cy="398571"/>
          </a:xfrm>
        </p:spPr>
        <p:txBody>
          <a:bodyPr anchor="b" anchorCtr="0">
            <a:spAutoFit/>
          </a:bodyPr>
          <a:lstStyle>
            <a:lvl1pPr>
              <a:defRPr sz="2800" cap="all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1D3B9E-AB15-57C1-C20D-44700F00B0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4130" y="1773238"/>
            <a:ext cx="8642350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1990836-A4D7-C075-59A9-5BE8FA30DEF8}"/>
              </a:ext>
            </a:extLst>
          </p:cNvPr>
          <p:cNvCxnSpPr/>
          <p:nvPr userDrawn="1"/>
        </p:nvCxnSpPr>
        <p:spPr>
          <a:xfrm>
            <a:off x="10128448" y="3429000"/>
            <a:ext cx="2063552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28356-60F6-B15A-AB27-B8BE9253A315}"/>
              </a:ext>
            </a:extLst>
          </p:cNvPr>
          <p:cNvCxnSpPr/>
          <p:nvPr userDrawn="1"/>
        </p:nvCxnSpPr>
        <p:spPr>
          <a:xfrm>
            <a:off x="0" y="3429000"/>
            <a:ext cx="2063552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476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A99729C1-A0AC-0E99-B8C4-DA540EFCF6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5710272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0B3A1D03-FEE3-43B5-B712-2BD75FA24CC3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B9165BAE-20B8-64FB-ACE7-AFE1A825955D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D6725EE6-704F-DE4B-452F-4143B9C6A4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8928103" cy="307777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C3599CE-2CFE-EA62-5C6D-A3E16EBF88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76616"/>
            <a:ext cx="8928619" cy="72008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7B6F32E-C559-9016-741E-071ADFEE6A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8928620" cy="1929759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0" cap="all" baseline="0">
                <a:solidFill>
                  <a:schemeClr val="accent4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376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A0742762-E718-2432-C710-FAC93FA733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2855136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3425F00-62F8-4BFC-8084-825D130BEC52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1" y="1302237"/>
            <a:ext cx="8640960" cy="398571"/>
          </a:xfrm>
        </p:spPr>
        <p:txBody>
          <a:bodyPr anchor="b" anchorCtr="0">
            <a:spAutoFit/>
          </a:bodyPr>
          <a:lstStyle>
            <a:lvl1pPr>
              <a:defRPr sz="2800" cap="all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1D3B9E-AB15-57C1-C20D-44700F00B0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4130" y="1773238"/>
            <a:ext cx="8642350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6493A5D-8A37-F1A6-0128-ECF5BC71FA9D}"/>
              </a:ext>
            </a:extLst>
          </p:cNvPr>
          <p:cNvCxnSpPr/>
          <p:nvPr userDrawn="1"/>
        </p:nvCxnSpPr>
        <p:spPr>
          <a:xfrm>
            <a:off x="10128448" y="3429000"/>
            <a:ext cx="2063552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37B035E-61EF-82FF-8F1F-2E303C4CF0FF}"/>
              </a:ext>
            </a:extLst>
          </p:cNvPr>
          <p:cNvCxnSpPr/>
          <p:nvPr userDrawn="1"/>
        </p:nvCxnSpPr>
        <p:spPr>
          <a:xfrm>
            <a:off x="0" y="3429000"/>
            <a:ext cx="2063552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1825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8D9DCDB-5424-4901-B86F-FFC06BB089B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1990836-A4D7-C075-59A9-5BE8FA30DEF8}"/>
              </a:ext>
            </a:extLst>
          </p:cNvPr>
          <p:cNvCxnSpPr>
            <a:cxnSpLocks/>
            <a:stCxn id="17" idx="3"/>
          </p:cNvCxnSpPr>
          <p:nvPr userDrawn="1"/>
        </p:nvCxnSpPr>
        <p:spPr>
          <a:xfrm flipV="1">
            <a:off x="10416480" y="3429000"/>
            <a:ext cx="1775520" cy="211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28356-60F6-B15A-AB27-B8BE9253A315}"/>
              </a:ext>
            </a:extLst>
          </p:cNvPr>
          <p:cNvCxnSpPr>
            <a:cxnSpLocks/>
            <a:endCxn id="15" idx="1"/>
          </p:cNvCxnSpPr>
          <p:nvPr userDrawn="1"/>
        </p:nvCxnSpPr>
        <p:spPr>
          <a:xfrm>
            <a:off x="0" y="3429000"/>
            <a:ext cx="1775520" cy="211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6231D-EA37-1C36-8BFF-3905B3392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75520" y="836712"/>
            <a:ext cx="2304256" cy="83869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>
                <a:solidFill>
                  <a:schemeClr val="accent4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D679562-FF68-FA36-3678-5270F196577C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112225" y="837178"/>
            <a:ext cx="2304256" cy="83869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>
                <a:solidFill>
                  <a:schemeClr val="accent4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08ADC11-458D-16A3-1713-B1755A47C1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943872" y="837178"/>
            <a:ext cx="2304256" cy="83869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0" cap="all" baseline="0">
                <a:solidFill>
                  <a:schemeClr val="accent4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B765316B-55F9-1613-E594-BD88960F87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75520" y="1773238"/>
            <a:ext cx="2304256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E94F220-14EB-5018-EA77-E99FDC69E4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43872" y="1773238"/>
            <a:ext cx="2304256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C966D98-9643-33AE-7FCB-6306652194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12224" y="1773238"/>
            <a:ext cx="2304256" cy="331194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189AAD9-8AA7-381A-A69F-17B96F2C58A6}"/>
              </a:ext>
            </a:extLst>
          </p:cNvPr>
          <p:cNvCxnSpPr>
            <a:cxnSpLocks/>
            <a:stCxn id="15" idx="3"/>
            <a:endCxn id="16" idx="1"/>
          </p:cNvCxnSpPr>
          <p:nvPr userDrawn="1"/>
        </p:nvCxnSpPr>
        <p:spPr>
          <a:xfrm>
            <a:off x="4079776" y="3429211"/>
            <a:ext cx="864096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91AC773-C5E1-7EE5-A892-B9EA1B9BA872}"/>
              </a:ext>
            </a:extLst>
          </p:cNvPr>
          <p:cNvCxnSpPr>
            <a:cxnSpLocks/>
            <a:stCxn id="16" idx="3"/>
            <a:endCxn id="17" idx="1"/>
          </p:cNvCxnSpPr>
          <p:nvPr userDrawn="1"/>
        </p:nvCxnSpPr>
        <p:spPr>
          <a:xfrm>
            <a:off x="7248128" y="3429211"/>
            <a:ext cx="864096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12786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es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E02714D-432F-4323-B822-15EAABFD4AD9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28356-60F6-B15A-AB27-B8BE9253A315}"/>
              </a:ext>
            </a:extLst>
          </p:cNvPr>
          <p:cNvCxnSpPr>
            <a:cxnSpLocks/>
          </p:cNvCxnSpPr>
          <p:nvPr userDrawn="1"/>
        </p:nvCxnSpPr>
        <p:spPr>
          <a:xfrm>
            <a:off x="0" y="1916832"/>
            <a:ext cx="12192000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C6231D-EA37-1C36-8BFF-3905B3392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75520" y="1124744"/>
            <a:ext cx="2304256" cy="1584176"/>
          </a:xfrm>
          <a:solidFill>
            <a:srgbClr val="EEB6F2"/>
          </a:solidFill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0" cap="all" baseline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D679562-FF68-FA36-3678-5270F196577C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112225" y="1124744"/>
            <a:ext cx="2304256" cy="1584176"/>
          </a:xfrm>
          <a:solidFill>
            <a:srgbClr val="EEB6F2"/>
          </a:solidFill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0" cap="all" baseline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08ADC11-458D-16A3-1713-B1755A47C1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943872" y="1124744"/>
            <a:ext cx="2304256" cy="1584176"/>
          </a:xfrm>
          <a:solidFill>
            <a:srgbClr val="EEB6F2"/>
          </a:solidFill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0" cap="all" baseline="0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B765316B-55F9-1613-E594-BD88960F87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75520" y="2996952"/>
            <a:ext cx="2304256" cy="266429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E94F220-14EB-5018-EA77-E99FDC69E4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43872" y="2996952"/>
            <a:ext cx="2304256" cy="266429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C966D98-9643-33AE-7FCB-6306652194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12224" y="2996952"/>
            <a:ext cx="2304256" cy="2664296"/>
          </a:xfrm>
          <a:ln w="22225">
            <a:solidFill>
              <a:schemeClr val="accent4"/>
            </a:solidFill>
          </a:ln>
        </p:spPr>
        <p:txBody>
          <a:bodyPr lIns="720000" tIns="360000" rIns="720000" bIns="360000" anchor="ctr" anchorCtr="0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  <a:latin typeface="+mn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5D6574B3-B9CB-4DC9-0A36-7CF04147DFDE}"/>
              </a:ext>
            </a:extLst>
          </p:cNvPr>
          <p:cNvSpPr/>
          <p:nvPr userDrawn="1"/>
        </p:nvSpPr>
        <p:spPr>
          <a:xfrm flipV="1">
            <a:off x="9084352" y="2883080"/>
            <a:ext cx="360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96C16F76-DDE8-8D4C-436A-37E2AF930B92}"/>
              </a:ext>
            </a:extLst>
          </p:cNvPr>
          <p:cNvSpPr/>
          <p:nvPr userDrawn="1"/>
        </p:nvSpPr>
        <p:spPr>
          <a:xfrm flipV="1">
            <a:off x="5916000" y="2883080"/>
            <a:ext cx="360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AB30005D-B4E0-FCB5-FF95-0866AA0CF64D}"/>
              </a:ext>
            </a:extLst>
          </p:cNvPr>
          <p:cNvSpPr/>
          <p:nvPr userDrawn="1"/>
        </p:nvSpPr>
        <p:spPr>
          <a:xfrm flipV="1">
            <a:off x="2747648" y="2883080"/>
            <a:ext cx="360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5682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C3B68D-0321-4245-9A9F-E14F9B4D559F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1D3B9E-AB15-57C1-C20D-44700F00B0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51584" y="-314994"/>
            <a:ext cx="7487442" cy="7488410"/>
          </a:xfrm>
          <a:prstGeom prst="ellipse">
            <a:avLst/>
          </a:prstGeom>
          <a:ln w="22225">
            <a:solidFill>
              <a:schemeClr val="accent4"/>
            </a:solidFill>
          </a:ln>
        </p:spPr>
        <p:txBody>
          <a:bodyPr lIns="0" tIns="360000" rIns="0" bIns="360000" anchor="ctr" anchorCtr="0"/>
          <a:lstStyle>
            <a:lvl1pPr marL="0" indent="0" algn="ctr">
              <a:buFontTx/>
              <a:buNone/>
              <a:defRPr sz="3600">
                <a:solidFill>
                  <a:schemeClr val="bg1"/>
                </a:solidFill>
                <a:latin typeface="+mj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1600">
                <a:solidFill>
                  <a:schemeClr val="accent4"/>
                </a:solidFill>
                <a:latin typeface="+mj-lt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1990836-A4D7-C075-59A9-5BE8FA30DEF8}"/>
              </a:ext>
            </a:extLst>
          </p:cNvPr>
          <p:cNvCxnSpPr>
            <a:cxnSpLocks/>
          </p:cNvCxnSpPr>
          <p:nvPr userDrawn="1"/>
        </p:nvCxnSpPr>
        <p:spPr>
          <a:xfrm>
            <a:off x="9624392" y="3429000"/>
            <a:ext cx="2567608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28356-60F6-B15A-AB27-B8BE9253A315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2567608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73547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5223BCA8-5BBD-46E9-7917-9AD049DEDAA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2855136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70A96-6606-436A-A3E2-1A8AE6E1025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1D3B9E-AB15-57C1-C20D-44700F00B0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51584" y="1773238"/>
            <a:ext cx="7487442" cy="3311946"/>
          </a:xfrm>
          <a:prstGeom prst="rect">
            <a:avLst/>
          </a:prstGeom>
          <a:ln w="22225">
            <a:noFill/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3600">
                <a:solidFill>
                  <a:schemeClr val="bg1"/>
                </a:solidFill>
                <a:latin typeface="+mj-lt"/>
                <a:cs typeface="Fortum Sans TT Light" panose="02010404010101010104" pitchFamily="2" charset="0"/>
              </a:defRPr>
            </a:lvl1pPr>
            <a:lvl2pPr marL="0" indent="0" algn="ctr">
              <a:buFontTx/>
              <a:buNone/>
              <a:defRPr sz="1600">
                <a:solidFill>
                  <a:schemeClr val="accent4"/>
                </a:solidFill>
                <a:latin typeface="+mj-lt"/>
                <a:cs typeface="Fortum Sans TT Light" panose="02010404010101010104" pitchFamily="2" charset="0"/>
              </a:defRPr>
            </a:lvl2pPr>
            <a:lvl3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3pPr>
            <a:lvl4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4pPr>
            <a:lvl5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5pPr>
            <a:lvl6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6pPr>
            <a:lvl7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7pPr>
            <a:lvl8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8pPr>
            <a:lvl9pPr marL="0" indent="0" algn="ctr">
              <a:buFontTx/>
              <a:buNone/>
              <a:defRPr sz="2400">
                <a:solidFill>
                  <a:schemeClr val="bg1"/>
                </a:solidFill>
                <a:latin typeface="Fortum Sans TT Light" panose="02010404010101010104" pitchFamily="2" charset="0"/>
                <a:cs typeface="Fortum Sans TT Light" panose="02010404010101010104" pitchFamily="2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69B01B-7BC5-F878-B352-FB896AD9C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8156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8BF5F-31BE-4AA5-9D58-C834AFDADA82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2F3326-D0DE-CE8D-6DEF-7258561AD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1163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61D3F-B523-4DE0-B053-5ADEEEC457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495728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_you_contact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63302E9C-03F9-AD37-71C5-CB420EEEB0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91400" y="4"/>
            <a:ext cx="4800601" cy="685799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4655339D-CE50-4F7C-9CE4-9BCDAF0F31B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58A6F022-C390-31DD-2F94-3F81F685B5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7" y="4581526"/>
            <a:ext cx="5616253" cy="1368424"/>
          </a:xfrm>
        </p:spPr>
        <p:txBody>
          <a:bodyPr>
            <a:normAutofit/>
          </a:bodyPr>
          <a:lstStyle>
            <a:lvl1pPr marL="0" indent="0" algn="l">
              <a:spcBef>
                <a:spcPts val="200"/>
              </a:spcBef>
              <a:buFontTx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0" indent="0" algn="l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2pPr>
            <a:lvl3pPr marL="0" indent="0" algn="ctr">
              <a:spcBef>
                <a:spcPts val="200"/>
              </a:spcBef>
              <a:buFontTx/>
              <a:buNone/>
              <a:defRPr sz="1000"/>
            </a:lvl3pPr>
            <a:lvl4pPr marL="0" indent="0" algn="ctr">
              <a:spcBef>
                <a:spcPts val="200"/>
              </a:spcBef>
              <a:buFontTx/>
              <a:buNone/>
              <a:defRPr sz="1000"/>
            </a:lvl4pPr>
            <a:lvl5pPr marL="0" indent="0" algn="ctr">
              <a:spcBef>
                <a:spcPts val="200"/>
              </a:spcBef>
              <a:buFontTx/>
              <a:buNone/>
              <a:defRPr sz="1000"/>
            </a:lvl5pPr>
          </a:lstStyle>
          <a:p>
            <a:pPr lvl="0"/>
            <a:r>
              <a:rPr lang="en-GB" noProof="0" dirty="0"/>
              <a:t>Your contact details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1F19C-11B7-9B3A-3E25-348CFA875E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08719"/>
            <a:ext cx="5616252" cy="3384377"/>
          </a:xfrm>
        </p:spPr>
        <p:txBody>
          <a:bodyPr anchor="t" anchorCtr="0"/>
          <a:lstStyle>
            <a:lvl1pPr algn="l">
              <a:defRPr sz="6000" cap="all" baseline="0">
                <a:solidFill>
                  <a:schemeClr val="accent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GB" noProof="0" dirty="0"/>
              <a:t>Click to add Thank you Text.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52FDE655-5392-82DA-4052-311ACF5B95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4414858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_you_contac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74CC8F1D-2AF4-8C5C-DB95-8C2FF43B38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91400" y="4"/>
            <a:ext cx="4800601" cy="685799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23F1DA25-7882-4695-959C-D7E9FA900BE5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9E6220C8-E203-93F0-08FA-C345CE09125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7A7C66F5-03A7-6FBA-75BE-55A2071C0A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7" y="4581526"/>
            <a:ext cx="5616253" cy="1368424"/>
          </a:xfrm>
        </p:spPr>
        <p:txBody>
          <a:bodyPr>
            <a:normAutofit/>
          </a:bodyPr>
          <a:lstStyle>
            <a:lvl1pPr marL="0" indent="0" algn="l">
              <a:spcBef>
                <a:spcPts val="200"/>
              </a:spcBef>
              <a:buFontTx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0" indent="0" algn="l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2pPr>
            <a:lvl3pPr marL="0" indent="0" algn="ctr">
              <a:spcBef>
                <a:spcPts val="200"/>
              </a:spcBef>
              <a:buFontTx/>
              <a:buNone/>
              <a:defRPr sz="1000"/>
            </a:lvl3pPr>
            <a:lvl4pPr marL="0" indent="0" algn="ctr">
              <a:spcBef>
                <a:spcPts val="200"/>
              </a:spcBef>
              <a:buFontTx/>
              <a:buNone/>
              <a:defRPr sz="1000"/>
            </a:lvl4pPr>
            <a:lvl5pPr marL="0" indent="0" algn="ctr">
              <a:spcBef>
                <a:spcPts val="200"/>
              </a:spcBef>
              <a:buFontTx/>
              <a:buNone/>
              <a:defRPr sz="1000"/>
            </a:lvl5pPr>
          </a:lstStyle>
          <a:p>
            <a:pPr lvl="0"/>
            <a:r>
              <a:rPr lang="en-GB" noProof="0" dirty="0"/>
              <a:t>Your contact details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9DE649F-CF76-1C1F-181F-42E3FBDF4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08719"/>
            <a:ext cx="5616252" cy="3384377"/>
          </a:xfrm>
        </p:spPr>
        <p:txBody>
          <a:bodyPr anchor="t" anchorCtr="0"/>
          <a:lstStyle>
            <a:lvl1pPr algn="l">
              <a:defRPr sz="6000" cap="all" baseline="0">
                <a:solidFill>
                  <a:schemeClr val="accent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GB" noProof="0" dirty="0"/>
              <a:t>Click to add Thank you Text.</a:t>
            </a:r>
          </a:p>
        </p:txBody>
      </p:sp>
    </p:spTree>
    <p:extLst>
      <p:ext uri="{BB962C8B-B14F-4D97-AF65-F5344CB8AC3E}">
        <p14:creationId xmlns:p14="http://schemas.microsoft.com/office/powerpoint/2010/main" val="178051690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_yo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32C55D5E-9B9D-5772-5594-2BF0EB6F664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11" name="logo">
            <a:extLst>
              <a:ext uri="{FF2B5EF4-FFF2-40B4-BE49-F238E27FC236}">
                <a16:creationId xmlns:a16="http://schemas.microsoft.com/office/drawing/2014/main" id="{9A393F79-A538-C1C9-6B83-42202D837265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C18F76D0-F51E-4D2F-84B6-067070EE328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58A6F022-C390-31DD-2F94-3F81F685B5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7" y="4581526"/>
            <a:ext cx="8928621" cy="1368424"/>
          </a:xfrm>
        </p:spPr>
        <p:txBody>
          <a:bodyPr>
            <a:normAutofit/>
          </a:bodyPr>
          <a:lstStyle>
            <a:lvl1pPr marL="0" indent="0" algn="l">
              <a:spcBef>
                <a:spcPts val="200"/>
              </a:spcBef>
              <a:buFontTx/>
              <a:buNone/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l">
              <a:spcBef>
                <a:spcPts val="200"/>
              </a:spcBef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 algn="ctr">
              <a:spcBef>
                <a:spcPts val="200"/>
              </a:spcBef>
              <a:buFontTx/>
              <a:buNone/>
              <a:defRPr sz="1000"/>
            </a:lvl3pPr>
            <a:lvl4pPr marL="0" indent="0" algn="ctr">
              <a:spcBef>
                <a:spcPts val="200"/>
              </a:spcBef>
              <a:buFontTx/>
              <a:buNone/>
              <a:defRPr sz="1000"/>
            </a:lvl4pPr>
            <a:lvl5pPr marL="0" indent="0" algn="ctr">
              <a:spcBef>
                <a:spcPts val="200"/>
              </a:spcBef>
              <a:buFontTx/>
              <a:buNone/>
              <a:defRPr sz="1000"/>
            </a:lvl5pPr>
          </a:lstStyle>
          <a:p>
            <a:pPr lvl="0"/>
            <a:r>
              <a:rPr lang="en-GB" noProof="0" dirty="0"/>
              <a:t>Your contact details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1F19C-11B7-9B3A-3E25-348CFA875E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08719"/>
            <a:ext cx="8928620" cy="3384377"/>
          </a:xfrm>
        </p:spPr>
        <p:txBody>
          <a:bodyPr anchor="t" anchorCtr="0"/>
          <a:lstStyle>
            <a:lvl1pPr algn="l">
              <a:defRPr sz="6000" cap="all" baseline="0">
                <a:solidFill>
                  <a:schemeClr val="tx2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GB" noProof="0" dirty="0"/>
              <a:t>Click to add Thank you Text.</a:t>
            </a:r>
          </a:p>
        </p:txBody>
      </p:sp>
    </p:spTree>
    <p:extLst>
      <p:ext uri="{BB962C8B-B14F-4D97-AF65-F5344CB8AC3E}">
        <p14:creationId xmlns:p14="http://schemas.microsoft.com/office/powerpoint/2010/main" val="26916783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E78E3C-D4DC-7934-38E4-39DC60DDC45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aurora">
            <a:extLst>
              <a:ext uri="{FF2B5EF4-FFF2-40B4-BE49-F238E27FC236}">
                <a16:creationId xmlns:a16="http://schemas.microsoft.com/office/drawing/2014/main" id="{9DE26B90-63D7-64D6-5A97-F05199DE23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>
          <a:xfrm>
            <a:off x="0" y="3429000"/>
            <a:ext cx="121920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C6BFCB10-042D-4A72-8B25-9665E2D1906E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Click to add classification</a:t>
            </a:r>
          </a:p>
        </p:txBody>
      </p:sp>
      <p:sp>
        <p:nvSpPr>
          <p:cNvPr id="24" name="logo"/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90874FD-F6E7-4EFD-43A9-844B3680A8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8928620" cy="1929759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0" cap="all" baseline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F6E0A855-7441-305F-7C27-8D5A8343D9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8928103" cy="307777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27655120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reen lines on a black background&#10;&#10;Description automatically generated">
            <a:extLst>
              <a:ext uri="{FF2B5EF4-FFF2-40B4-BE49-F238E27FC236}">
                <a16:creationId xmlns:a16="http://schemas.microsoft.com/office/drawing/2014/main" id="{8FA7D8A4-769C-53BD-F677-6D56997B23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09EA037-6F28-4C89-BAA9-AE2B9607A85D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839787" y="2133600"/>
            <a:ext cx="10512425" cy="1871282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1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61304738-6820-3106-82CB-9DF67B7D0E0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97FA2495-1411-BCB9-FAB4-8121DCD4B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10512426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92850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Green lines on a black background&#10;&#10;Description automatically generated">
            <a:extLst>
              <a:ext uri="{FF2B5EF4-FFF2-40B4-BE49-F238E27FC236}">
                <a16:creationId xmlns:a16="http://schemas.microsoft.com/office/drawing/2014/main" id="{7C0EE27B-7F31-E57A-0064-3F8CCF21D2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6DE0BD88-4C46-4C18-9F37-BC1A8FDD6C9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10512425" cy="1871282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61304738-6820-3106-82CB-9DF67B7D0E0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7C4C74C6-D676-328B-8442-97D30CD178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5642173"/>
            <a:ext cx="10512426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300192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green and black leaf&#10;&#10;Description automatically generated">
            <a:extLst>
              <a:ext uri="{FF2B5EF4-FFF2-40B4-BE49-F238E27FC236}">
                <a16:creationId xmlns:a16="http://schemas.microsoft.com/office/drawing/2014/main" id="{C60D2406-AB3B-7985-311C-4FFD8316E4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0B3A1D03-FEE3-43B5-B712-2BD75FA24CC3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B9165BAE-20B8-64FB-ACE7-AFE1A825955D}"/>
              </a:ext>
            </a:extLst>
          </p:cNvPr>
          <p:cNvSpPr>
            <a:spLocks noChangeAspect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D6725EE6-704F-DE4B-452F-4143B9C6A4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10512426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C3599CE-2CFE-EA62-5C6D-A3E16EBF88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76616"/>
            <a:ext cx="10512426" cy="72008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7B6F32E-C559-9016-741E-071ADFEE6A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7" y="2133600"/>
            <a:ext cx="10512425" cy="1871282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1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2207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green and black leaf&#10;&#10;Description automatically generated">
            <a:extLst>
              <a:ext uri="{FF2B5EF4-FFF2-40B4-BE49-F238E27FC236}">
                <a16:creationId xmlns:a16="http://schemas.microsoft.com/office/drawing/2014/main" id="{C60D2406-AB3B-7985-311C-4FFD8316E4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134A2F81-F5F8-4D06-89A6-9A4955836E4B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B9165BAE-20B8-64FB-ACE7-AFE1A825955D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D6725EE6-704F-DE4B-452F-4143B9C6A4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10511816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C3599CE-2CFE-EA62-5C6D-A3E16EBF88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76616"/>
            <a:ext cx="10512424" cy="72008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7B6F32E-C559-9016-741E-071ADFEE6A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7" y="2137251"/>
            <a:ext cx="10512425" cy="1871282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1" cap="all" normalizeH="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0610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A99729C1-A0AC-0E99-B8C4-DA540EFCF6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5710272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0B3A1D03-FEE3-43B5-B712-2BD75FA24CC3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add classificatio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B9165BAE-20B8-64FB-ACE7-AFE1A825955D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D6725EE6-704F-DE4B-452F-4143B9C6A4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10511816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C3599CE-2CFE-EA62-5C6D-A3E16EBF88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76616"/>
            <a:ext cx="10512424" cy="72008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7B6F32E-C559-9016-741E-071ADFEE6A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7" y="2133600"/>
            <a:ext cx="10512425" cy="1871282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1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99093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E78E3C-D4DC-7934-38E4-39DC60DDC45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aurora">
            <a:extLst>
              <a:ext uri="{FF2B5EF4-FFF2-40B4-BE49-F238E27FC236}">
                <a16:creationId xmlns:a16="http://schemas.microsoft.com/office/drawing/2014/main" id="{9DE26B90-63D7-64D6-5A97-F05199DE23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>
          <a:xfrm>
            <a:off x="0" y="3429000"/>
            <a:ext cx="121920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C6BFCB10-042D-4A72-8B25-9665E2D1906E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Click to add classification</a:t>
            </a:r>
          </a:p>
        </p:txBody>
      </p:sp>
      <p:sp>
        <p:nvSpPr>
          <p:cNvPr id="24" name="logo"/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90874FD-F6E7-4EFD-43A9-844B3680A8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7" y="2137251"/>
            <a:ext cx="10512425" cy="1871282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F6E0A855-7441-305F-7C27-8D5A8343D9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10511816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37928947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C7A50D9-0208-E30E-F8E8-D491DB3CAB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aurora">
            <a:extLst>
              <a:ext uri="{FF2B5EF4-FFF2-40B4-BE49-F238E27FC236}">
                <a16:creationId xmlns:a16="http://schemas.microsoft.com/office/drawing/2014/main" id="{F8A0A7C4-1EFD-211F-7FA1-F5F295DB57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>
          <a:xfrm>
            <a:off x="0" y="3429000"/>
            <a:ext cx="121920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77A390FD-78B2-40C7-820D-515634E92AE8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accent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Click to add classificatio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85962ADC-2CEE-137F-0AE0-78A8EAC85B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EFB0A0B-DBAC-F171-9518-0717B141A1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7" y="2133600"/>
            <a:ext cx="10512425" cy="1871282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318157D5-7DBF-5AE5-C6F2-5FD78D7919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10511816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27393596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E78E3C-D4DC-7934-38E4-39DC60DDC45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D52820E5-DAFE-411F-A15A-12C6BF34C03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Click to add classification</a:t>
            </a:r>
          </a:p>
        </p:txBody>
      </p:sp>
      <p:sp>
        <p:nvSpPr>
          <p:cNvPr id="24" name="logo"/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601855D-146F-E5D0-130A-D1216D1802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10511816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2EDE624-BEB4-22A3-8262-D2333CD0F4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10512424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05B8803-A940-74A0-D5EF-17D12AA324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7" y="2133600"/>
            <a:ext cx="10512425" cy="1871282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377355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C7A50D9-0208-E30E-F8E8-D491DB3CAB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C340A311-8F4E-43AB-8201-214EB132C10E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accent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Click to add classification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94F8738-0404-1669-34E8-0D93C6E239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10511816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37A021B-C13B-0E67-9373-BCAFD08450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76616"/>
            <a:ext cx="10512424" cy="72008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4ED8E14-FA47-B8EF-45D9-5086F0FFA3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7" y="2133600"/>
            <a:ext cx="10512425" cy="1871282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D0294718-1B18-F52C-94FF-83FE345D5C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95371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and black leaf&#10;&#10;Description automatically generated">
            <a:extLst>
              <a:ext uri="{FF2B5EF4-FFF2-40B4-BE49-F238E27FC236}">
                <a16:creationId xmlns:a16="http://schemas.microsoft.com/office/drawing/2014/main" id="{8BD97802-4087-B8A2-46D6-12662A65AB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94C3712-A568-4575-8EE4-6F8EEFF57A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777649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777649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045621"/>
            <a:ext cx="7776492" cy="2215991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1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C544558E-605F-1586-41EF-DD234A07B8EC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51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C7A50D9-0208-E30E-F8E8-D491DB3CAB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aurora">
            <a:extLst>
              <a:ext uri="{FF2B5EF4-FFF2-40B4-BE49-F238E27FC236}">
                <a16:creationId xmlns:a16="http://schemas.microsoft.com/office/drawing/2014/main" id="{F8A0A7C4-1EFD-211F-7FA1-F5F295DB57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>
          <a:xfrm>
            <a:off x="0" y="3429000"/>
            <a:ext cx="121920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77A390FD-78B2-40C7-820D-515634E92AE8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accent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Click to add classification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85962ADC-2CEE-137F-0AE0-78A8EAC85B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EFB0A0B-DBAC-F171-9518-0717B141A1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8928620" cy="1929759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0" cap="all" baseline="0">
                <a:solidFill>
                  <a:schemeClr val="accent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318157D5-7DBF-5AE5-C6F2-5FD78D7919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8928103" cy="307777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6915396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7D32B3B0-8067-BF0D-E63B-143A2216EF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5710272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94C3712-A568-4575-8EE4-6F8EEFF57A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777649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777649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045621"/>
            <a:ext cx="7776492" cy="2215991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1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C544558E-605F-1586-41EF-DD234A07B8EC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914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half_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6902E93-A141-5E96-0152-F9A712CF11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aurora">
            <a:extLst>
              <a:ext uri="{FF2B5EF4-FFF2-40B4-BE49-F238E27FC236}">
                <a16:creationId xmlns:a16="http://schemas.microsoft.com/office/drawing/2014/main" id="{26508106-5E38-02D5-4E7B-221FB175F3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00600" y="3429000"/>
            <a:ext cx="73914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C4B6DFE-BF48-45FF-B007-206C603F439E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525621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525621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999454"/>
            <a:ext cx="5256212" cy="2262158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1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112E01BB-2C32-E608-5918-498BB17903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8173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half_pictur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6902E93-A141-5E96-0152-F9A712CF11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aurora">
            <a:extLst>
              <a:ext uri="{FF2B5EF4-FFF2-40B4-BE49-F238E27FC236}">
                <a16:creationId xmlns:a16="http://schemas.microsoft.com/office/drawing/2014/main" id="{26508106-5E38-02D5-4E7B-221FB175F3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>
          <a:xfrm>
            <a:off x="4800600" y="3429000"/>
            <a:ext cx="73914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C4B6DFE-BF48-45FF-B007-206C603F439E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525621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525621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999454"/>
            <a:ext cx="5256212" cy="2262158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112E01BB-2C32-E608-5918-498BB17903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3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7331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half_picture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6902E93-A141-5E96-0152-F9A712CF11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94C3712-A568-4575-8EE4-6F8EEFF57A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7" name="logo">
            <a:extLst>
              <a:ext uri="{FF2B5EF4-FFF2-40B4-BE49-F238E27FC236}">
                <a16:creationId xmlns:a16="http://schemas.microsoft.com/office/drawing/2014/main" id="{FA6CE31D-AFCB-A574-5F10-1817640CE8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525621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525621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999454"/>
            <a:ext cx="5256212" cy="2262158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90596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header_half_picture_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6902E93-A141-5E96-0152-F9A712CF11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E94C3712-A568-4575-8EE4-6F8EEFF57A7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7" name="logo">
            <a:extLst>
              <a:ext uri="{FF2B5EF4-FFF2-40B4-BE49-F238E27FC236}">
                <a16:creationId xmlns:a16="http://schemas.microsoft.com/office/drawing/2014/main" id="{FA6CE31D-AFCB-A574-5F10-1817640CE8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6126F9E-2ED2-9979-892B-54DD3E698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5256213" cy="30777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43E3BD9-9D0E-003C-AC4D-AD425CB49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5256213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1FDF48C-B51E-5B95-048C-690DBB18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999454"/>
            <a:ext cx="5256212" cy="2262158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80000"/>
              </a:lnSpc>
              <a:defRPr sz="60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14316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A170E4-E75D-4E6C-BB29-CF67620274C1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5623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3DFF2520-4C2C-3A75-1C6B-8DE06241C9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60AF0-8CCF-4C99-B69C-AF0C7B0031DD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92608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3DFF2520-4C2C-3A75-1C6B-8DE06241C9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H="1" flipV="1">
            <a:off x="0" y="0"/>
            <a:ext cx="6082374" cy="343176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60AF0-8CCF-4C99-B69C-AF0C7B0031DD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93530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een lines on a black background&#10;&#10;Description automatically generated">
            <a:extLst>
              <a:ext uri="{FF2B5EF4-FFF2-40B4-BE49-F238E27FC236}">
                <a16:creationId xmlns:a16="http://schemas.microsoft.com/office/drawing/2014/main" id="{29F356D2-7FFA-6DFD-C1C6-A1FF7AB87F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691E7-38E8-4782-AC4B-78EA6509C58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88604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691E7-38E8-4782-AC4B-78EA6509C58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9" name="Picture 8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EA59CBD1-28C1-166B-97AA-DF171737F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5710272" y="283"/>
            <a:ext cx="6481728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6941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E78E3C-D4DC-7934-38E4-39DC60DDC45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D52820E5-DAFE-411F-A15A-12C6BF34C03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bg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Click to add classification</a:t>
            </a:r>
          </a:p>
        </p:txBody>
      </p:sp>
      <p:sp>
        <p:nvSpPr>
          <p:cNvPr id="24" name="logo"/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601855D-146F-E5D0-130A-D1216D1802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8928103" cy="307777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2EDE624-BEB4-22A3-8262-D2333CD0F4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81524"/>
            <a:ext cx="8928619" cy="715171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05B8803-A940-74A0-D5EF-17D12AA324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8928620" cy="1929759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0" cap="all" baseline="0">
                <a:solidFill>
                  <a:schemeClr val="bg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53786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60190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7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418875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B72CFCE2-4C23-5680-D350-207A42E51C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887072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9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5464C746-32EA-276E-9BE5-29E2F766CE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H="1" flipV="1">
            <a:off x="0" y="0"/>
            <a:ext cx="6082374" cy="343176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239570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10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E326F19F-9936-DBD5-3799-8BCA781F30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5710272" y="283"/>
            <a:ext cx="6481728" cy="68574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tx2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A988C62-6EF7-49BF-9551-F34876D52D8B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6189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ntent_1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5223BCA8-5BBD-46E9-7917-9AD049DEDAA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6" r="23416"/>
          <a:stretch/>
        </p:blipFill>
        <p:spPr>
          <a:xfrm>
            <a:off x="2855136" y="283"/>
            <a:ext cx="6481728" cy="685743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70A96-6606-436A-A3E2-1A8AE6E1025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69B01B-7BC5-F878-B352-FB896AD9C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992A69D-D0BE-00AA-EA9B-2B2651D364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1484314"/>
            <a:ext cx="10512425" cy="4464966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tx2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tx2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tx2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257077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691E7-38E8-4782-AC4B-78EA6509C58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288DBE-F920-D210-F7EA-1849AD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9" name="Picture 8" descr="A green star with black background&#10;&#10;Description automatically generated">
            <a:extLst>
              <a:ext uri="{FF2B5EF4-FFF2-40B4-BE49-F238E27FC236}">
                <a16:creationId xmlns:a16="http://schemas.microsoft.com/office/drawing/2014/main" id="{EA59CBD1-28C1-166B-97AA-DF171737F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35" t="10970" r="23416"/>
          <a:stretch/>
        </p:blipFill>
        <p:spPr>
          <a:xfrm>
            <a:off x="0" y="0"/>
            <a:ext cx="2495600" cy="3144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5621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ntent_13">
    <p:bg>
      <p:bgPr>
        <a:solidFill>
          <a:srgbClr val="FAEA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black leaf&#10;&#10;Description automatically generated">
            <a:extLst>
              <a:ext uri="{FF2B5EF4-FFF2-40B4-BE49-F238E27FC236}">
                <a16:creationId xmlns:a16="http://schemas.microsoft.com/office/drawing/2014/main" id="{D87A168E-E71E-AC4E-FA36-C41B5C8DE36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9" y="1484314"/>
            <a:ext cx="6551612" cy="446496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EDC571-E600-411F-9888-FA40037DFD3F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5E0ACA-DD18-060C-52C3-3A2FE1FFF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6552356" cy="7921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891360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ic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08787A62-BF0D-5239-1497-AF9814BEA1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E0F0DF5-CDB3-4AD6-857E-24BDED95695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7643CFB-76B7-4CC2-9BDE-889D1EDBA86A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423592" y="2056860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79454CB-9A83-9367-F798-1A7901DEFE0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2423790" y="2770591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6EC0D1-4516-EB78-A43F-2A4EC1E38A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423790" y="3494138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CF6A1AD-C673-375C-03D4-8D9B6AB1B9D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423790" y="4217685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50BB2C6-5629-C81E-53D7-03481446676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423790" y="4941232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5D89EA-B155-9D11-E24D-B425DF6A63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6274" y="2058099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1BD94DF-A14C-3234-7F58-6FF1E3861BB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3216274" y="2767447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73A56DE-8CDC-D50B-8597-D3393A3E2675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3216274" y="3490994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EB798DF-38CB-A57D-4D1F-D66B5718D64E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3216274" y="4214541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3F9E9AC-77C0-8D22-2763-F04F24C4D4CD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3216274" y="4938088"/>
            <a:ext cx="6552133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3ECB139-8D4F-E61C-8262-F37AF1F9C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76250"/>
            <a:ext cx="10512425" cy="792163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214771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ics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and black wavy lines&#10;&#10;Description automatically generated with medium confidence">
            <a:extLst>
              <a:ext uri="{FF2B5EF4-FFF2-40B4-BE49-F238E27FC236}">
                <a16:creationId xmlns:a16="http://schemas.microsoft.com/office/drawing/2014/main" id="{08787A62-BF0D-5239-1497-AF9814BEA1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40"/>
          <a:stretch/>
        </p:blipFill>
        <p:spPr>
          <a:xfrm flipV="1">
            <a:off x="6109627" y="0"/>
            <a:ext cx="6082374" cy="3431764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E0F0DF5-CDB3-4AD6-857E-24BDED956955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7A39C204-86B2-2C15-0263-A29CE7691060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7643CFB-76B7-4CC2-9BDE-889D1EDBA86A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49701" y="2056860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79454CB-9A83-9367-F798-1A7901DEFE0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849899" y="2770591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6EC0D1-4516-EB78-A43F-2A4EC1E38A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49899" y="3494138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CF6A1AD-C673-375C-03D4-8D9B6AB1B9D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49899" y="4217685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50BB2C6-5629-C81E-53D7-03481446676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49899" y="4941232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5D89EA-B155-9D11-E24D-B425DF6A63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42383" y="2058099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1BD94DF-A14C-3234-7F58-6FF1E3861BB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642383" y="2767447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73A56DE-8CDC-D50B-8597-D3393A3E2675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1642383" y="3490994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EB798DF-38CB-A57D-4D1F-D66B5718D64E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1642383" y="4214541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3F9E9AC-77C0-8D22-2763-F04F24C4D4CD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1642383" y="4938088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3ECB139-8D4F-E61C-8262-F37AF1F9C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76250"/>
            <a:ext cx="10512425" cy="792163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7743131-7667-FD38-1889-2E62733BE41A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6249930" y="2056860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D7D9FC5-939B-04A5-42B4-7616357D6033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6250128" y="2770591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07E4C7C-8DD4-DC12-A03B-349A2B8FDDA0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6250128" y="3494138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1EAD2EE4-B737-347B-C30E-066573476185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6250128" y="4217685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FE401BF-C9F8-CE92-6725-8276BECF9D7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6250128" y="4941232"/>
            <a:ext cx="576000" cy="576000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txBody>
          <a:bodyPr wrap="none" tIns="36000" anchor="ctr" anchorCtr="0"/>
          <a:lstStyle>
            <a:lvl1pPr marL="0" indent="0" algn="ctr">
              <a:buNone/>
              <a:defRPr sz="2000" b="1">
                <a:solidFill>
                  <a:schemeClr val="accent4"/>
                </a:solidFill>
                <a:latin typeface="+mj-lt"/>
                <a:cs typeface="Fortum Sans TT Bold" panose="02010804010101010104" pitchFamily="2" charset="0"/>
              </a:defRPr>
            </a:lvl1pPr>
          </a:lstStyle>
          <a:p>
            <a:pPr lvl="0"/>
            <a:r>
              <a:rPr lang="en-GB" noProof="0" dirty="0"/>
              <a:t>N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37F375E-7BF0-AC59-B463-C74D638DB78D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7042612" y="2058099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F48BCBC-81E4-6A52-BC47-1A806AB6355D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7042612" y="2767447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26796C8-5F85-DDAA-105D-1A6B08FBC7FA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7042612" y="3490994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6B77B1D-3352-BFC1-8E20-44D2DBC78A10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7042612" y="4214541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D9D2A29-6812-6F3D-1C7C-77D306924D81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7042612" y="4938088"/>
            <a:ext cx="4309601" cy="576000"/>
          </a:xfrm>
        </p:spPr>
        <p:txBody>
          <a:bodyPr tIns="36000"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n-lt"/>
                <a:cs typeface="Fortum Sans TT Bold" panose="020108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4520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C7A50D9-0208-E30E-F8E8-D491DB3CAB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l">
              <a:buFontTx/>
              <a:buNone/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C340A311-8F4E-43AB-8201-214EB132C10E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95887" y="0"/>
            <a:ext cx="1800225" cy="260648"/>
          </a:xfrm>
          <a:noFill/>
        </p:spPr>
        <p:txBody>
          <a:bodyPr vert="horz" wrap="square" lIns="0" tIns="0" rIns="0" bIns="0" rtlCol="0" anchor="ctr" anchorCtr="1">
            <a:noAutofit/>
          </a:bodyPr>
          <a:lstStyle>
            <a:lvl1pPr marL="0" indent="0">
              <a:buFontTx/>
              <a:buNone/>
              <a:defRPr lang="en-US" sz="1000" baseline="0" dirty="0" smtClean="0">
                <a:solidFill>
                  <a:schemeClr val="accent1"/>
                </a:solidFill>
                <a:latin typeface="Fortum Sans TT Regular" panose="02010504010101010104" pitchFamily="2" charset="0"/>
              </a:defRPr>
            </a:lvl1pPr>
          </a:lstStyle>
          <a:p>
            <a:pPr marL="0" lvl="0" algn="ctr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Click to add classification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94F8738-0404-1669-34E8-0D93C6E239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5642173"/>
            <a:ext cx="8928103" cy="307777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Name / Title / Dat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37A021B-C13B-0E67-9373-BCAFD08450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7" y="4576616"/>
            <a:ext cx="8928619" cy="72008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4ED8E14-FA47-B8EF-45D9-5086F0FFA3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8928620" cy="1929759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0000"/>
              </a:lnSpc>
              <a:defRPr sz="7600" b="0" cap="all" baseline="0">
                <a:solidFill>
                  <a:schemeClr val="accent1"/>
                </a:solidFill>
                <a:latin typeface="Fortum Sans TT Bold" panose="02010804010101010104" pitchFamily="2" charset="0"/>
                <a:cs typeface="Fortum Sans TT Bold" panose="02010804010101010104" pitchFamily="2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D0294718-1B18-F52C-94FF-83FE345D5C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652460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9788" y="1484313"/>
            <a:ext cx="5112199" cy="446496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0016" y="1484313"/>
            <a:ext cx="5112197" cy="446496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3E105-C354-4A4A-847B-ABF26C821196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F5141B-AEF2-1202-F91F-CDA928085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60273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s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484784"/>
            <a:ext cx="10512426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844824"/>
            <a:ext cx="10512426" cy="410445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C38E41-4DC4-45F9-93A5-3E5AB243383C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694F3E9-4688-B808-7776-27E72DED4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1870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7" y="1484784"/>
            <a:ext cx="5112197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7" y="1844825"/>
            <a:ext cx="5112197" cy="410445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016" y="1484784"/>
            <a:ext cx="5112197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0016" y="1844824"/>
            <a:ext cx="5112197" cy="410445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23318-2F54-4C60-8956-9045F521880F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6E86DAA5-876D-462C-CBB1-A1A88EB6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0103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conten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484784"/>
            <a:ext cx="3311996" cy="360104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844824"/>
            <a:ext cx="3311996" cy="410422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39336" y="1844824"/>
            <a:ext cx="3312848" cy="410445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8040216" y="1484992"/>
            <a:ext cx="3311997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346" y="1484992"/>
            <a:ext cx="3313308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8040216" y="1844824"/>
            <a:ext cx="3311997" cy="41044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22792F1-D73D-4199-8613-C1FDD53594B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4899B6F-7F12-569A-130A-81055DFB0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90309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contents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844824"/>
            <a:ext cx="6912396" cy="410445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8112280" y="1484313"/>
            <a:ext cx="3239933" cy="446496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BCCA9B0-EF87-451B-AB34-0DA2D9EF73E0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484784"/>
            <a:ext cx="6912396" cy="3603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  <a:cs typeface="Fortum Sans TT Medium" panose="020106040101010101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4B81B3-1199-9902-0520-8B89ED896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6537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nd_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391400" y="4"/>
            <a:ext cx="4800601" cy="685799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5616252" cy="446496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588390-B60E-40C6-9259-7B7F409AAEA9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C670C07-BC5B-06CA-D8AB-621D2ACE3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5616252" cy="7921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751D1437-C6D6-AAC2-1CF2-9AD050DD8E9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9653458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nd_picture_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391400" y="4"/>
            <a:ext cx="4800601" cy="685799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5616252" cy="446496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588390-B60E-40C6-9259-7B7F409AAEA9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C670C07-BC5B-06CA-D8AB-621D2ACE3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5616252" cy="7921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10E90C3-C75C-5514-333A-BCD0F889E2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146472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picture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5616252" cy="446496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F672F8-7597-416A-A3ED-3228CEBE8DE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816080" y="1484313"/>
            <a:ext cx="4536133" cy="4464967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9037C81-4C0C-8197-1ABD-B8238460F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296090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405E9-B120-492F-8432-99E6FB99B74C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39788" y="1484313"/>
            <a:ext cx="10512425" cy="4464967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7F563-0AB2-8EF9-6B5F-34ED4556D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01568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half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096000" y="4"/>
            <a:ext cx="6096001" cy="6857996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 algn="l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484313"/>
            <a:ext cx="4680148" cy="446496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8AED9-6C7E-4934-9634-A2173A3D5CAA}" type="datetime1">
              <a:rPr lang="en-GB" noProof="0" smtClean="0"/>
              <a:t>17/10/2025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4" name="logo">
            <a:extLst>
              <a:ext uri="{FF2B5EF4-FFF2-40B4-BE49-F238E27FC236}">
                <a16:creationId xmlns:a16="http://schemas.microsoft.com/office/drawing/2014/main" id="{BF4819A4-C320-0837-4F9E-14ED8014FDD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10749600" y="6165304"/>
            <a:ext cx="1180800" cy="432000"/>
          </a:xfrm>
          <a:blipFill>
            <a:blip r:embed="rId2"/>
            <a:stretch>
              <a:fillRect/>
            </a:stretch>
          </a:blipFill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3A9D67B-9FDA-D51A-BA5E-9FCE4A161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4680148" cy="7921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0804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93.xml"/><Relationship Id="rId42" Type="http://schemas.openxmlformats.org/officeDocument/2006/relationships/slideLayout" Target="../slideLayouts/slideLayout101.xml"/><Relationship Id="rId47" Type="http://schemas.openxmlformats.org/officeDocument/2006/relationships/slideLayout" Target="../slideLayouts/slideLayout106.xml"/><Relationship Id="rId50" Type="http://schemas.openxmlformats.org/officeDocument/2006/relationships/slideLayout" Target="../slideLayouts/slideLayout109.xml"/><Relationship Id="rId55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37" Type="http://schemas.openxmlformats.org/officeDocument/2006/relationships/slideLayout" Target="../slideLayouts/slideLayout96.xml"/><Relationship Id="rId40" Type="http://schemas.openxmlformats.org/officeDocument/2006/relationships/slideLayout" Target="../slideLayouts/slideLayout99.xml"/><Relationship Id="rId45" Type="http://schemas.openxmlformats.org/officeDocument/2006/relationships/slideLayout" Target="../slideLayouts/slideLayout104.xml"/><Relationship Id="rId53" Type="http://schemas.openxmlformats.org/officeDocument/2006/relationships/slideLayout" Target="../slideLayouts/slideLayout112.xml"/><Relationship Id="rId58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64.xml"/><Relationship Id="rId61" Type="http://schemas.openxmlformats.org/officeDocument/2006/relationships/image" Target="../media/image1.png"/><Relationship Id="rId1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4.xml"/><Relationship Id="rId43" Type="http://schemas.openxmlformats.org/officeDocument/2006/relationships/slideLayout" Target="../slideLayouts/slideLayout102.xml"/><Relationship Id="rId48" Type="http://schemas.openxmlformats.org/officeDocument/2006/relationships/slideLayout" Target="../slideLayouts/slideLayout107.xml"/><Relationship Id="rId56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67.xml"/><Relationship Id="rId51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38" Type="http://schemas.openxmlformats.org/officeDocument/2006/relationships/slideLayout" Target="../slideLayouts/slideLayout97.xml"/><Relationship Id="rId46" Type="http://schemas.openxmlformats.org/officeDocument/2006/relationships/slideLayout" Target="../slideLayouts/slideLayout105.xml"/><Relationship Id="rId59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79.xml"/><Relationship Id="rId41" Type="http://schemas.openxmlformats.org/officeDocument/2006/relationships/slideLayout" Target="../slideLayouts/slideLayout100.xml"/><Relationship Id="rId54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slideLayout" Target="../slideLayouts/slideLayout95.xml"/><Relationship Id="rId49" Type="http://schemas.openxmlformats.org/officeDocument/2006/relationships/slideLayout" Target="../slideLayouts/slideLayout108.xml"/><Relationship Id="rId57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90.xml"/><Relationship Id="rId44" Type="http://schemas.openxmlformats.org/officeDocument/2006/relationships/slideLayout" Target="../slideLayouts/slideLayout103.xml"/><Relationship Id="rId52" Type="http://schemas.openxmlformats.org/officeDocument/2006/relationships/slideLayout" Target="../slideLayouts/slideLayout111.xml"/><Relationship Id="rId60" Type="http://schemas.openxmlformats.org/officeDocument/2006/relationships/theme" Target="../theme/theme2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logo">
            <a:extLst>
              <a:ext uri="{FF2B5EF4-FFF2-40B4-BE49-F238E27FC236}">
                <a16:creationId xmlns:a16="http://schemas.microsoft.com/office/drawing/2014/main" id="{27B1FE78-1B2D-63A9-7F2C-6E5152FF77E3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1" name="(logo)" descr="Z:\GRW (grow)\logot\copyright_grow.png" hidden="1">
            <a:extLst>
              <a:ext uri="{FF2B5EF4-FFF2-40B4-BE49-F238E27FC236}">
                <a16:creationId xmlns:a16="http://schemas.microsoft.com/office/drawing/2014/main" id="{53DCF12F-80FE-7878-F8F4-CEC0C701E2F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(c)" hidden="1"/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991328" y="6885480"/>
            <a:ext cx="193963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</a:rPr>
              <a:t> fortum</a:t>
            </a:r>
            <a:endParaRPr lang="en-GB" sz="200" dirty="0" err="1">
              <a:solidFill>
                <a:schemeClr val="bg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88" y="476250"/>
            <a:ext cx="10512425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484314"/>
            <a:ext cx="10512425" cy="44649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9269" y="6453336"/>
            <a:ext cx="1440382" cy="144016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900" b="0">
                <a:solidFill>
                  <a:schemeClr val="accent1"/>
                </a:solidFill>
                <a:latin typeface="+mn-lt"/>
                <a:cs typeface="Fortum Sans TT Regular" panose="02010504010101010104" pitchFamily="2" charset="0"/>
              </a:defRPr>
            </a:lvl1pPr>
          </a:lstStyle>
          <a:p>
            <a:fld id="{B45894CE-449A-49C1-9C8A-507005CC7C6F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9576" y="6453336"/>
            <a:ext cx="7488314" cy="144016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900" b="0">
                <a:solidFill>
                  <a:schemeClr val="accent1"/>
                </a:solidFill>
                <a:latin typeface="+mn-lt"/>
                <a:cs typeface="Fortum Sans TT Regular" panose="020105040101010101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3526" y="6453336"/>
            <a:ext cx="575746" cy="14401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900" b="0">
                <a:solidFill>
                  <a:schemeClr val="accent1"/>
                </a:solidFill>
                <a:latin typeface="+mn-lt"/>
                <a:cs typeface="Fortum Sans TT Regular" panose="02010504010101010104" pitchFamily="2" charset="0"/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8720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39" r:id="rId2"/>
    <p:sldLayoutId id="2147483884" r:id="rId3"/>
    <p:sldLayoutId id="2147483840" r:id="rId4"/>
    <p:sldLayoutId id="2147483916" r:id="rId5"/>
    <p:sldLayoutId id="2147483843" r:id="rId6"/>
    <p:sldLayoutId id="2147483844" r:id="rId7"/>
    <p:sldLayoutId id="2147483845" r:id="rId8"/>
    <p:sldLayoutId id="2147483846" r:id="rId9"/>
    <p:sldLayoutId id="2147483915" r:id="rId10"/>
    <p:sldLayoutId id="2147483918" r:id="rId11"/>
    <p:sldLayoutId id="2147483914" r:id="rId12"/>
    <p:sldLayoutId id="2147483847" r:id="rId13"/>
    <p:sldLayoutId id="2147483885" r:id="rId14"/>
    <p:sldLayoutId id="2147483909" r:id="rId15"/>
    <p:sldLayoutId id="2147483849" r:id="rId16"/>
    <p:sldLayoutId id="2147483887" r:id="rId17"/>
    <p:sldLayoutId id="2147483979" r:id="rId18"/>
    <p:sldLayoutId id="2147483913" r:id="rId19"/>
    <p:sldLayoutId id="2147483850" r:id="rId20"/>
    <p:sldLayoutId id="2147483888" r:id="rId21"/>
    <p:sldLayoutId id="2147483912" r:id="rId22"/>
    <p:sldLayoutId id="2147483981" r:id="rId23"/>
    <p:sldLayoutId id="2147483980" r:id="rId24"/>
    <p:sldLayoutId id="2147483972" r:id="rId25"/>
    <p:sldLayoutId id="2147483976" r:id="rId26"/>
    <p:sldLayoutId id="2147483973" r:id="rId27"/>
    <p:sldLayoutId id="2147483894" r:id="rId28"/>
    <p:sldLayoutId id="2147483890" r:id="rId29"/>
    <p:sldLayoutId id="2147483917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911" r:id="rId37"/>
    <p:sldLayoutId id="2147483858" r:id="rId38"/>
    <p:sldLayoutId id="2147483859" r:id="rId39"/>
    <p:sldLayoutId id="2147483860" r:id="rId40"/>
    <p:sldLayoutId id="2147483910" r:id="rId41"/>
    <p:sldLayoutId id="2147483895" r:id="rId42"/>
    <p:sldLayoutId id="2147483892" r:id="rId43"/>
    <p:sldLayoutId id="2147483869" r:id="rId44"/>
    <p:sldLayoutId id="2147483870" r:id="rId45"/>
    <p:sldLayoutId id="2147483871" r:id="rId46"/>
    <p:sldLayoutId id="2147483872" r:id="rId47"/>
    <p:sldLayoutId id="2147483994" r:id="rId48"/>
    <p:sldLayoutId id="2147483901" r:id="rId49"/>
    <p:sldLayoutId id="2147483907" r:id="rId50"/>
    <p:sldLayoutId id="2147483902" r:id="rId51"/>
    <p:sldLayoutId id="2147483903" r:id="rId52"/>
    <p:sldLayoutId id="2147483904" r:id="rId53"/>
    <p:sldLayoutId id="2147483905" r:id="rId54"/>
    <p:sldLayoutId id="2147483875" r:id="rId55"/>
    <p:sldLayoutId id="2147483876" r:id="rId56"/>
    <p:sldLayoutId id="2147483900" r:id="rId57"/>
    <p:sldLayoutId id="2147483879" r:id="rId58"/>
    <p:sldLayoutId id="2147483877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spc="0" baseline="0">
          <a:solidFill>
            <a:schemeClr val="accent1"/>
          </a:solidFill>
          <a:latin typeface="+mj-lt"/>
          <a:ea typeface="+mj-ea"/>
          <a:cs typeface="Fortum Sans TT Bold" panose="02010804010101010104" pitchFamily="2" charset="0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–"/>
        <a:defRPr sz="1600" b="0" kern="1200">
          <a:solidFill>
            <a:schemeClr val="accent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–"/>
        <a:defRPr sz="12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200" b="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3748">
          <p15:clr>
            <a:srgbClr val="F26B43"/>
          </p15:clr>
        </p15:guide>
        <p15:guide id="8" orient="horz" pos="300" userDrawn="1">
          <p15:clr>
            <a:srgbClr val="F26B43"/>
          </p15:clr>
        </p15:guide>
        <p15:guide id="15" pos="7151" userDrawn="1">
          <p15:clr>
            <a:srgbClr val="F26B43"/>
          </p15:clr>
        </p15:guide>
        <p15:guide id="16" pos="529" userDrawn="1">
          <p15:clr>
            <a:srgbClr val="F26B43"/>
          </p15:clr>
        </p15:guide>
        <p15:guide id="21" pos="3840" userDrawn="1">
          <p15:clr>
            <a:srgbClr val="F26B43"/>
          </p15:clr>
        </p15:guide>
        <p15:guide id="22" orient="horz" pos="2160" userDrawn="1">
          <p15:clr>
            <a:srgbClr val="F26B43"/>
          </p15:clr>
        </p15:guide>
        <p15:guide id="24" orient="horz" pos="93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logo">
            <a:extLst>
              <a:ext uri="{FF2B5EF4-FFF2-40B4-BE49-F238E27FC236}">
                <a16:creationId xmlns:a16="http://schemas.microsoft.com/office/drawing/2014/main" id="{27B1FE78-1B2D-63A9-7F2C-6E5152FF77E3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/>
        </p:nvSpPr>
        <p:spPr bwMode="auto">
          <a:xfrm>
            <a:off x="10748299" y="6165650"/>
            <a:ext cx="1180349" cy="432000"/>
          </a:xfrm>
          <a:custGeom>
            <a:avLst/>
            <a:gdLst>
              <a:gd name="T0" fmla="*/ 2592 w 7328"/>
              <a:gd name="T1" fmla="*/ 991 h 2682"/>
              <a:gd name="T2" fmla="*/ 2913 w 7328"/>
              <a:gd name="T3" fmla="*/ 1358 h 2682"/>
              <a:gd name="T4" fmla="*/ 2974 w 7328"/>
              <a:gd name="T5" fmla="*/ 1618 h 2682"/>
              <a:gd name="T6" fmla="*/ 2290 w 7328"/>
              <a:gd name="T7" fmla="*/ 1180 h 2682"/>
              <a:gd name="T8" fmla="*/ 2944 w 7328"/>
              <a:gd name="T9" fmla="*/ 621 h 2682"/>
              <a:gd name="T10" fmla="*/ 713 w 7328"/>
              <a:gd name="T11" fmla="*/ 2188 h 2682"/>
              <a:gd name="T12" fmla="*/ 579 w 7328"/>
              <a:gd name="T13" fmla="*/ 2171 h 2682"/>
              <a:gd name="T14" fmla="*/ 1061 w 7328"/>
              <a:gd name="T15" fmla="*/ 2435 h 2682"/>
              <a:gd name="T16" fmla="*/ 751 w 7328"/>
              <a:gd name="T17" fmla="*/ 2349 h 2682"/>
              <a:gd name="T18" fmla="*/ 943 w 7328"/>
              <a:gd name="T19" fmla="*/ 2294 h 2682"/>
              <a:gd name="T20" fmla="*/ 1150 w 7328"/>
              <a:gd name="T21" fmla="*/ 2231 h 2682"/>
              <a:gd name="T22" fmla="*/ 1823 w 7328"/>
              <a:gd name="T23" fmla="*/ 2459 h 2682"/>
              <a:gd name="T24" fmla="*/ 1597 w 7328"/>
              <a:gd name="T25" fmla="*/ 2292 h 2682"/>
              <a:gd name="T26" fmla="*/ 1992 w 7328"/>
              <a:gd name="T27" fmla="*/ 2282 h 2682"/>
              <a:gd name="T28" fmla="*/ 2218 w 7328"/>
              <a:gd name="T29" fmla="*/ 2157 h 2682"/>
              <a:gd name="T30" fmla="*/ 2419 w 7328"/>
              <a:gd name="T31" fmla="*/ 2229 h 2682"/>
              <a:gd name="T32" fmla="*/ 2374 w 7328"/>
              <a:gd name="T33" fmla="*/ 2309 h 2682"/>
              <a:gd name="T34" fmla="*/ 2834 w 7328"/>
              <a:gd name="T35" fmla="*/ 2671 h 2682"/>
              <a:gd name="T36" fmla="*/ 2866 w 7328"/>
              <a:gd name="T37" fmla="*/ 2497 h 2682"/>
              <a:gd name="T38" fmla="*/ 2672 w 7328"/>
              <a:gd name="T39" fmla="*/ 2262 h 2682"/>
              <a:gd name="T40" fmla="*/ 2712 w 7328"/>
              <a:gd name="T41" fmla="*/ 2315 h 2682"/>
              <a:gd name="T42" fmla="*/ 3182 w 7328"/>
              <a:gd name="T43" fmla="*/ 2301 h 2682"/>
              <a:gd name="T44" fmla="*/ 3293 w 7328"/>
              <a:gd name="T45" fmla="*/ 2538 h 2682"/>
              <a:gd name="T46" fmla="*/ 3282 w 7328"/>
              <a:gd name="T47" fmla="*/ 2493 h 2682"/>
              <a:gd name="T48" fmla="*/ 3670 w 7328"/>
              <a:gd name="T49" fmla="*/ 2463 h 2682"/>
              <a:gd name="T50" fmla="*/ 3995 w 7328"/>
              <a:gd name="T51" fmla="*/ 2228 h 2682"/>
              <a:gd name="T52" fmla="*/ 3878 w 7328"/>
              <a:gd name="T53" fmla="*/ 2373 h 2682"/>
              <a:gd name="T54" fmla="*/ 4465 w 7328"/>
              <a:gd name="T55" fmla="*/ 2123 h 2682"/>
              <a:gd name="T56" fmla="*/ 4630 w 7328"/>
              <a:gd name="T57" fmla="*/ 2553 h 2682"/>
              <a:gd name="T58" fmla="*/ 4868 w 7328"/>
              <a:gd name="T59" fmla="*/ 2103 h 2682"/>
              <a:gd name="T60" fmla="*/ 5216 w 7328"/>
              <a:gd name="T61" fmla="*/ 2343 h 2682"/>
              <a:gd name="T62" fmla="*/ 5645 w 7328"/>
              <a:gd name="T63" fmla="*/ 2231 h 2682"/>
              <a:gd name="T64" fmla="*/ 5465 w 7328"/>
              <a:gd name="T65" fmla="*/ 2623 h 2682"/>
              <a:gd name="T66" fmla="*/ 5351 w 7328"/>
              <a:gd name="T67" fmla="*/ 2466 h 2682"/>
              <a:gd name="T68" fmla="*/ 5574 w 7328"/>
              <a:gd name="T69" fmla="*/ 2338 h 2682"/>
              <a:gd name="T70" fmla="*/ 6156 w 7328"/>
              <a:gd name="T71" fmla="*/ 2477 h 2682"/>
              <a:gd name="T72" fmla="*/ 6561 w 7328"/>
              <a:gd name="T73" fmla="*/ 2521 h 2682"/>
              <a:gd name="T74" fmla="*/ 6349 w 7328"/>
              <a:gd name="T75" fmla="*/ 2267 h 2682"/>
              <a:gd name="T76" fmla="*/ 6404 w 7328"/>
              <a:gd name="T77" fmla="*/ 2303 h 2682"/>
              <a:gd name="T78" fmla="*/ 6781 w 7328"/>
              <a:gd name="T79" fmla="*/ 2302 h 2682"/>
              <a:gd name="T80" fmla="*/ 7043 w 7328"/>
              <a:gd name="T81" fmla="*/ 2492 h 2682"/>
              <a:gd name="T82" fmla="*/ 7165 w 7328"/>
              <a:gd name="T83" fmla="*/ 2287 h 2682"/>
              <a:gd name="T84" fmla="*/ 7266 w 7328"/>
              <a:gd name="T85" fmla="*/ 2414 h 2682"/>
              <a:gd name="T86" fmla="*/ 511 w 7328"/>
              <a:gd name="T87" fmla="*/ 494 h 2682"/>
              <a:gd name="T88" fmla="*/ 1372 w 7328"/>
              <a:gd name="T89" fmla="*/ 540 h 2682"/>
              <a:gd name="T90" fmla="*/ 881 w 7328"/>
              <a:gd name="T91" fmla="*/ 1308 h 2682"/>
              <a:gd name="T92" fmla="*/ 875 w 7328"/>
              <a:gd name="T93" fmla="*/ 1380 h 2682"/>
              <a:gd name="T94" fmla="*/ 539 w 7328"/>
              <a:gd name="T95" fmla="*/ 1636 h 2682"/>
              <a:gd name="T96" fmla="*/ 51 w 7328"/>
              <a:gd name="T97" fmla="*/ 496 h 2682"/>
              <a:gd name="T98" fmla="*/ 378 w 7328"/>
              <a:gd name="T99" fmla="*/ 589 h 2682"/>
              <a:gd name="T100" fmla="*/ 2055 w 7328"/>
              <a:gd name="T101" fmla="*/ 464 h 2682"/>
              <a:gd name="T102" fmla="*/ 2243 w 7328"/>
              <a:gd name="T103" fmla="*/ 66 h 2682"/>
              <a:gd name="T104" fmla="*/ 6763 w 7328"/>
              <a:gd name="T105" fmla="*/ 936 h 2682"/>
              <a:gd name="T106" fmla="*/ 6189 w 7328"/>
              <a:gd name="T107" fmla="*/ 900 h 2682"/>
              <a:gd name="T108" fmla="*/ 6359 w 7328"/>
              <a:gd name="T109" fmla="*/ 608 h 2682"/>
              <a:gd name="T110" fmla="*/ 6899 w 7328"/>
              <a:gd name="T111" fmla="*/ 619 h 2682"/>
              <a:gd name="T112" fmla="*/ 5694 w 7328"/>
              <a:gd name="T113" fmla="*/ 1343 h 2682"/>
              <a:gd name="T114" fmla="*/ 4864 w 7328"/>
              <a:gd name="T115" fmla="*/ 1474 h 2682"/>
              <a:gd name="T116" fmla="*/ 5294 w 7328"/>
              <a:gd name="T117" fmla="*/ 1404 h 2682"/>
              <a:gd name="T118" fmla="*/ 4265 w 7328"/>
              <a:gd name="T119" fmla="*/ 1586 h 2682"/>
              <a:gd name="T120" fmla="*/ 4472 w 7328"/>
              <a:gd name="T121" fmla="*/ 1387 h 2682"/>
              <a:gd name="T122" fmla="*/ 3673 w 7328"/>
              <a:gd name="T123" fmla="*/ 1067 h 2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28" h="2682">
                <a:moveTo>
                  <a:pt x="2987" y="1122"/>
                </a:moveTo>
                <a:lnTo>
                  <a:pt x="2987" y="1106"/>
                </a:lnTo>
                <a:lnTo>
                  <a:pt x="2986" y="1090"/>
                </a:lnTo>
                <a:lnTo>
                  <a:pt x="2985" y="1074"/>
                </a:lnTo>
                <a:lnTo>
                  <a:pt x="2983" y="1059"/>
                </a:lnTo>
                <a:lnTo>
                  <a:pt x="2979" y="1030"/>
                </a:lnTo>
                <a:lnTo>
                  <a:pt x="2976" y="1016"/>
                </a:lnTo>
                <a:lnTo>
                  <a:pt x="2973" y="1003"/>
                </a:lnTo>
                <a:lnTo>
                  <a:pt x="2969" y="990"/>
                </a:lnTo>
                <a:lnTo>
                  <a:pt x="2965" y="978"/>
                </a:lnTo>
                <a:lnTo>
                  <a:pt x="2961" y="966"/>
                </a:lnTo>
                <a:lnTo>
                  <a:pt x="2956" y="954"/>
                </a:lnTo>
                <a:lnTo>
                  <a:pt x="2951" y="943"/>
                </a:lnTo>
                <a:lnTo>
                  <a:pt x="2945" y="933"/>
                </a:lnTo>
                <a:lnTo>
                  <a:pt x="2939" y="923"/>
                </a:lnTo>
                <a:lnTo>
                  <a:pt x="2933" y="913"/>
                </a:lnTo>
                <a:lnTo>
                  <a:pt x="2926" y="904"/>
                </a:lnTo>
                <a:lnTo>
                  <a:pt x="2919" y="896"/>
                </a:lnTo>
                <a:lnTo>
                  <a:pt x="2911" y="888"/>
                </a:lnTo>
                <a:lnTo>
                  <a:pt x="2903" y="881"/>
                </a:lnTo>
                <a:lnTo>
                  <a:pt x="2895" y="874"/>
                </a:lnTo>
                <a:lnTo>
                  <a:pt x="2887" y="868"/>
                </a:lnTo>
                <a:lnTo>
                  <a:pt x="2878" y="862"/>
                </a:lnTo>
                <a:lnTo>
                  <a:pt x="2869" y="857"/>
                </a:lnTo>
                <a:lnTo>
                  <a:pt x="2859" y="852"/>
                </a:lnTo>
                <a:lnTo>
                  <a:pt x="2849" y="848"/>
                </a:lnTo>
                <a:lnTo>
                  <a:pt x="2839" y="845"/>
                </a:lnTo>
                <a:lnTo>
                  <a:pt x="2828" y="842"/>
                </a:lnTo>
                <a:lnTo>
                  <a:pt x="2817" y="840"/>
                </a:lnTo>
                <a:lnTo>
                  <a:pt x="2806" y="838"/>
                </a:lnTo>
                <a:lnTo>
                  <a:pt x="2795" y="837"/>
                </a:lnTo>
                <a:lnTo>
                  <a:pt x="2783" y="837"/>
                </a:lnTo>
                <a:lnTo>
                  <a:pt x="2771" y="837"/>
                </a:lnTo>
                <a:lnTo>
                  <a:pt x="2760" y="838"/>
                </a:lnTo>
                <a:lnTo>
                  <a:pt x="2748" y="840"/>
                </a:lnTo>
                <a:lnTo>
                  <a:pt x="2738" y="842"/>
                </a:lnTo>
                <a:lnTo>
                  <a:pt x="2727" y="845"/>
                </a:lnTo>
                <a:lnTo>
                  <a:pt x="2717" y="849"/>
                </a:lnTo>
                <a:lnTo>
                  <a:pt x="2707" y="853"/>
                </a:lnTo>
                <a:lnTo>
                  <a:pt x="2697" y="857"/>
                </a:lnTo>
                <a:lnTo>
                  <a:pt x="2687" y="863"/>
                </a:lnTo>
                <a:lnTo>
                  <a:pt x="2678" y="868"/>
                </a:lnTo>
                <a:lnTo>
                  <a:pt x="2670" y="875"/>
                </a:lnTo>
                <a:lnTo>
                  <a:pt x="2661" y="882"/>
                </a:lnTo>
                <a:lnTo>
                  <a:pt x="2657" y="885"/>
                </a:lnTo>
                <a:lnTo>
                  <a:pt x="2653" y="889"/>
                </a:lnTo>
                <a:lnTo>
                  <a:pt x="2645" y="897"/>
                </a:lnTo>
                <a:lnTo>
                  <a:pt x="2637" y="906"/>
                </a:lnTo>
                <a:lnTo>
                  <a:pt x="2630" y="915"/>
                </a:lnTo>
                <a:lnTo>
                  <a:pt x="2624" y="924"/>
                </a:lnTo>
                <a:lnTo>
                  <a:pt x="2618" y="934"/>
                </a:lnTo>
                <a:lnTo>
                  <a:pt x="2612" y="945"/>
                </a:lnTo>
                <a:lnTo>
                  <a:pt x="2606" y="955"/>
                </a:lnTo>
                <a:lnTo>
                  <a:pt x="2601" y="967"/>
                </a:lnTo>
                <a:lnTo>
                  <a:pt x="2597" y="979"/>
                </a:lnTo>
                <a:lnTo>
                  <a:pt x="2592" y="991"/>
                </a:lnTo>
                <a:lnTo>
                  <a:pt x="2589" y="1004"/>
                </a:lnTo>
                <a:lnTo>
                  <a:pt x="2585" y="1017"/>
                </a:lnTo>
                <a:lnTo>
                  <a:pt x="2582" y="1031"/>
                </a:lnTo>
                <a:lnTo>
                  <a:pt x="2580" y="1045"/>
                </a:lnTo>
                <a:lnTo>
                  <a:pt x="2578" y="1059"/>
                </a:lnTo>
                <a:lnTo>
                  <a:pt x="2576" y="1074"/>
                </a:lnTo>
                <a:lnTo>
                  <a:pt x="2575" y="1089"/>
                </a:lnTo>
                <a:lnTo>
                  <a:pt x="2574" y="1104"/>
                </a:lnTo>
                <a:lnTo>
                  <a:pt x="2574" y="1120"/>
                </a:lnTo>
                <a:lnTo>
                  <a:pt x="2574" y="1136"/>
                </a:lnTo>
                <a:lnTo>
                  <a:pt x="2575" y="1152"/>
                </a:lnTo>
                <a:lnTo>
                  <a:pt x="2576" y="1167"/>
                </a:lnTo>
                <a:lnTo>
                  <a:pt x="2578" y="1182"/>
                </a:lnTo>
                <a:lnTo>
                  <a:pt x="2580" y="1197"/>
                </a:lnTo>
                <a:lnTo>
                  <a:pt x="2583" y="1211"/>
                </a:lnTo>
                <a:lnTo>
                  <a:pt x="2586" y="1225"/>
                </a:lnTo>
                <a:lnTo>
                  <a:pt x="2589" y="1238"/>
                </a:lnTo>
                <a:lnTo>
                  <a:pt x="2593" y="1251"/>
                </a:lnTo>
                <a:lnTo>
                  <a:pt x="2597" y="1264"/>
                </a:lnTo>
                <a:lnTo>
                  <a:pt x="2602" y="1276"/>
                </a:lnTo>
                <a:lnTo>
                  <a:pt x="2607" y="1288"/>
                </a:lnTo>
                <a:lnTo>
                  <a:pt x="2613" y="1299"/>
                </a:lnTo>
                <a:lnTo>
                  <a:pt x="2619" y="1310"/>
                </a:lnTo>
                <a:lnTo>
                  <a:pt x="2625" y="1320"/>
                </a:lnTo>
                <a:lnTo>
                  <a:pt x="2632" y="1330"/>
                </a:lnTo>
                <a:lnTo>
                  <a:pt x="2639" y="1339"/>
                </a:lnTo>
                <a:lnTo>
                  <a:pt x="2646" y="1348"/>
                </a:lnTo>
                <a:lnTo>
                  <a:pt x="2655" y="1356"/>
                </a:lnTo>
                <a:lnTo>
                  <a:pt x="2663" y="1364"/>
                </a:lnTo>
                <a:lnTo>
                  <a:pt x="2672" y="1371"/>
                </a:lnTo>
                <a:lnTo>
                  <a:pt x="2676" y="1374"/>
                </a:lnTo>
                <a:lnTo>
                  <a:pt x="2681" y="1377"/>
                </a:lnTo>
                <a:lnTo>
                  <a:pt x="2690" y="1383"/>
                </a:lnTo>
                <a:lnTo>
                  <a:pt x="2699" y="1389"/>
                </a:lnTo>
                <a:lnTo>
                  <a:pt x="2709" y="1393"/>
                </a:lnTo>
                <a:lnTo>
                  <a:pt x="2720" y="1398"/>
                </a:lnTo>
                <a:lnTo>
                  <a:pt x="2730" y="1401"/>
                </a:lnTo>
                <a:lnTo>
                  <a:pt x="2741" y="1404"/>
                </a:lnTo>
                <a:lnTo>
                  <a:pt x="2746" y="1405"/>
                </a:lnTo>
                <a:lnTo>
                  <a:pt x="2752" y="1406"/>
                </a:lnTo>
                <a:lnTo>
                  <a:pt x="2763" y="1408"/>
                </a:lnTo>
                <a:lnTo>
                  <a:pt x="2775" y="1409"/>
                </a:lnTo>
                <a:lnTo>
                  <a:pt x="2787" y="1409"/>
                </a:lnTo>
                <a:lnTo>
                  <a:pt x="2799" y="1409"/>
                </a:lnTo>
                <a:lnTo>
                  <a:pt x="2810" y="1408"/>
                </a:lnTo>
                <a:lnTo>
                  <a:pt x="2821" y="1407"/>
                </a:lnTo>
                <a:lnTo>
                  <a:pt x="2832" y="1404"/>
                </a:lnTo>
                <a:lnTo>
                  <a:pt x="2842" y="1402"/>
                </a:lnTo>
                <a:lnTo>
                  <a:pt x="2852" y="1398"/>
                </a:lnTo>
                <a:lnTo>
                  <a:pt x="2862" y="1394"/>
                </a:lnTo>
                <a:lnTo>
                  <a:pt x="2871" y="1390"/>
                </a:lnTo>
                <a:lnTo>
                  <a:pt x="2880" y="1384"/>
                </a:lnTo>
                <a:lnTo>
                  <a:pt x="2889" y="1379"/>
                </a:lnTo>
                <a:lnTo>
                  <a:pt x="2897" y="1372"/>
                </a:lnTo>
                <a:lnTo>
                  <a:pt x="2905" y="1365"/>
                </a:lnTo>
                <a:lnTo>
                  <a:pt x="2913" y="1358"/>
                </a:lnTo>
                <a:lnTo>
                  <a:pt x="2920" y="1350"/>
                </a:lnTo>
                <a:lnTo>
                  <a:pt x="2927" y="1341"/>
                </a:lnTo>
                <a:lnTo>
                  <a:pt x="2934" y="1332"/>
                </a:lnTo>
                <a:lnTo>
                  <a:pt x="2940" y="1323"/>
                </a:lnTo>
                <a:lnTo>
                  <a:pt x="2946" y="1313"/>
                </a:lnTo>
                <a:lnTo>
                  <a:pt x="2951" y="1302"/>
                </a:lnTo>
                <a:lnTo>
                  <a:pt x="2957" y="1291"/>
                </a:lnTo>
                <a:lnTo>
                  <a:pt x="2961" y="1280"/>
                </a:lnTo>
                <a:lnTo>
                  <a:pt x="2966" y="1267"/>
                </a:lnTo>
                <a:lnTo>
                  <a:pt x="2970" y="1255"/>
                </a:lnTo>
                <a:lnTo>
                  <a:pt x="2973" y="1242"/>
                </a:lnTo>
                <a:lnTo>
                  <a:pt x="2976" y="1229"/>
                </a:lnTo>
                <a:lnTo>
                  <a:pt x="2979" y="1215"/>
                </a:lnTo>
                <a:lnTo>
                  <a:pt x="2981" y="1200"/>
                </a:lnTo>
                <a:lnTo>
                  <a:pt x="2983" y="1186"/>
                </a:lnTo>
                <a:lnTo>
                  <a:pt x="2985" y="1170"/>
                </a:lnTo>
                <a:lnTo>
                  <a:pt x="2986" y="1155"/>
                </a:lnTo>
                <a:lnTo>
                  <a:pt x="2987" y="1139"/>
                </a:lnTo>
                <a:lnTo>
                  <a:pt x="2987" y="1122"/>
                </a:lnTo>
                <a:close/>
                <a:moveTo>
                  <a:pt x="3274" y="1124"/>
                </a:moveTo>
                <a:lnTo>
                  <a:pt x="3274" y="1153"/>
                </a:lnTo>
                <a:lnTo>
                  <a:pt x="3272" y="1181"/>
                </a:lnTo>
                <a:lnTo>
                  <a:pt x="3269" y="1209"/>
                </a:lnTo>
                <a:lnTo>
                  <a:pt x="3265" y="1236"/>
                </a:lnTo>
                <a:lnTo>
                  <a:pt x="3260" y="1262"/>
                </a:lnTo>
                <a:lnTo>
                  <a:pt x="3257" y="1275"/>
                </a:lnTo>
                <a:lnTo>
                  <a:pt x="3254" y="1288"/>
                </a:lnTo>
                <a:lnTo>
                  <a:pt x="3251" y="1300"/>
                </a:lnTo>
                <a:lnTo>
                  <a:pt x="3247" y="1313"/>
                </a:lnTo>
                <a:lnTo>
                  <a:pt x="3243" y="1325"/>
                </a:lnTo>
                <a:lnTo>
                  <a:pt x="3239" y="1337"/>
                </a:lnTo>
                <a:lnTo>
                  <a:pt x="3229" y="1361"/>
                </a:lnTo>
                <a:lnTo>
                  <a:pt x="3219" y="1384"/>
                </a:lnTo>
                <a:lnTo>
                  <a:pt x="3214" y="1395"/>
                </a:lnTo>
                <a:lnTo>
                  <a:pt x="3208" y="1406"/>
                </a:lnTo>
                <a:lnTo>
                  <a:pt x="3202" y="1417"/>
                </a:lnTo>
                <a:lnTo>
                  <a:pt x="3196" y="1427"/>
                </a:lnTo>
                <a:lnTo>
                  <a:pt x="3183" y="1448"/>
                </a:lnTo>
                <a:lnTo>
                  <a:pt x="3176" y="1458"/>
                </a:lnTo>
                <a:lnTo>
                  <a:pt x="3169" y="1467"/>
                </a:lnTo>
                <a:lnTo>
                  <a:pt x="3162" y="1477"/>
                </a:lnTo>
                <a:lnTo>
                  <a:pt x="3154" y="1486"/>
                </a:lnTo>
                <a:lnTo>
                  <a:pt x="3147" y="1495"/>
                </a:lnTo>
                <a:lnTo>
                  <a:pt x="3139" y="1504"/>
                </a:lnTo>
                <a:lnTo>
                  <a:pt x="3131" y="1513"/>
                </a:lnTo>
                <a:lnTo>
                  <a:pt x="3122" y="1521"/>
                </a:lnTo>
                <a:lnTo>
                  <a:pt x="3114" y="1529"/>
                </a:lnTo>
                <a:lnTo>
                  <a:pt x="3105" y="1537"/>
                </a:lnTo>
                <a:lnTo>
                  <a:pt x="3087" y="1552"/>
                </a:lnTo>
                <a:lnTo>
                  <a:pt x="3068" y="1567"/>
                </a:lnTo>
                <a:lnTo>
                  <a:pt x="3048" y="1580"/>
                </a:lnTo>
                <a:lnTo>
                  <a:pt x="3027" y="1592"/>
                </a:lnTo>
                <a:lnTo>
                  <a:pt x="3006" y="1603"/>
                </a:lnTo>
                <a:lnTo>
                  <a:pt x="2996" y="1608"/>
                </a:lnTo>
                <a:lnTo>
                  <a:pt x="2985" y="1613"/>
                </a:lnTo>
                <a:lnTo>
                  <a:pt x="2974" y="1618"/>
                </a:lnTo>
                <a:lnTo>
                  <a:pt x="2962" y="1622"/>
                </a:lnTo>
                <a:lnTo>
                  <a:pt x="2951" y="1626"/>
                </a:lnTo>
                <a:lnTo>
                  <a:pt x="2939" y="1630"/>
                </a:lnTo>
                <a:lnTo>
                  <a:pt x="2916" y="1637"/>
                </a:lnTo>
                <a:lnTo>
                  <a:pt x="2904" y="1640"/>
                </a:lnTo>
                <a:lnTo>
                  <a:pt x="2892" y="1642"/>
                </a:lnTo>
                <a:lnTo>
                  <a:pt x="2879" y="1645"/>
                </a:lnTo>
                <a:lnTo>
                  <a:pt x="2867" y="1647"/>
                </a:lnTo>
                <a:lnTo>
                  <a:pt x="2841" y="1650"/>
                </a:lnTo>
                <a:lnTo>
                  <a:pt x="2816" y="1652"/>
                </a:lnTo>
                <a:lnTo>
                  <a:pt x="2789" y="1652"/>
                </a:lnTo>
                <a:lnTo>
                  <a:pt x="2761" y="1652"/>
                </a:lnTo>
                <a:lnTo>
                  <a:pt x="2733" y="1650"/>
                </a:lnTo>
                <a:lnTo>
                  <a:pt x="2719" y="1649"/>
                </a:lnTo>
                <a:lnTo>
                  <a:pt x="2706" y="1647"/>
                </a:lnTo>
                <a:lnTo>
                  <a:pt x="2693" y="1645"/>
                </a:lnTo>
                <a:lnTo>
                  <a:pt x="2680" y="1643"/>
                </a:lnTo>
                <a:lnTo>
                  <a:pt x="2667" y="1640"/>
                </a:lnTo>
                <a:lnTo>
                  <a:pt x="2654" y="1638"/>
                </a:lnTo>
                <a:lnTo>
                  <a:pt x="2640" y="1634"/>
                </a:lnTo>
                <a:lnTo>
                  <a:pt x="2628" y="1631"/>
                </a:lnTo>
                <a:lnTo>
                  <a:pt x="2616" y="1627"/>
                </a:lnTo>
                <a:lnTo>
                  <a:pt x="2604" y="1624"/>
                </a:lnTo>
                <a:lnTo>
                  <a:pt x="2592" y="1619"/>
                </a:lnTo>
                <a:lnTo>
                  <a:pt x="2581" y="1615"/>
                </a:lnTo>
                <a:lnTo>
                  <a:pt x="2569" y="1610"/>
                </a:lnTo>
                <a:lnTo>
                  <a:pt x="2558" y="1605"/>
                </a:lnTo>
                <a:lnTo>
                  <a:pt x="2536" y="1594"/>
                </a:lnTo>
                <a:lnTo>
                  <a:pt x="2515" y="1583"/>
                </a:lnTo>
                <a:lnTo>
                  <a:pt x="2495" y="1570"/>
                </a:lnTo>
                <a:lnTo>
                  <a:pt x="2485" y="1563"/>
                </a:lnTo>
                <a:lnTo>
                  <a:pt x="2476" y="1556"/>
                </a:lnTo>
                <a:lnTo>
                  <a:pt x="2466" y="1549"/>
                </a:lnTo>
                <a:lnTo>
                  <a:pt x="2457" y="1541"/>
                </a:lnTo>
                <a:lnTo>
                  <a:pt x="2448" y="1533"/>
                </a:lnTo>
                <a:lnTo>
                  <a:pt x="2440" y="1525"/>
                </a:lnTo>
                <a:lnTo>
                  <a:pt x="2423" y="1508"/>
                </a:lnTo>
                <a:lnTo>
                  <a:pt x="2415" y="1500"/>
                </a:lnTo>
                <a:lnTo>
                  <a:pt x="2407" y="1491"/>
                </a:lnTo>
                <a:lnTo>
                  <a:pt x="2399" y="1481"/>
                </a:lnTo>
                <a:lnTo>
                  <a:pt x="2392" y="1472"/>
                </a:lnTo>
                <a:lnTo>
                  <a:pt x="2378" y="1452"/>
                </a:lnTo>
                <a:lnTo>
                  <a:pt x="2365" y="1432"/>
                </a:lnTo>
                <a:lnTo>
                  <a:pt x="2359" y="1421"/>
                </a:lnTo>
                <a:lnTo>
                  <a:pt x="2353" y="1410"/>
                </a:lnTo>
                <a:lnTo>
                  <a:pt x="2342" y="1388"/>
                </a:lnTo>
                <a:lnTo>
                  <a:pt x="2332" y="1365"/>
                </a:lnTo>
                <a:lnTo>
                  <a:pt x="2323" y="1341"/>
                </a:lnTo>
                <a:lnTo>
                  <a:pt x="2314" y="1316"/>
                </a:lnTo>
                <a:lnTo>
                  <a:pt x="2311" y="1303"/>
                </a:lnTo>
                <a:lnTo>
                  <a:pt x="2307" y="1290"/>
                </a:lnTo>
                <a:lnTo>
                  <a:pt x="2304" y="1277"/>
                </a:lnTo>
                <a:lnTo>
                  <a:pt x="2301" y="1264"/>
                </a:lnTo>
                <a:lnTo>
                  <a:pt x="2296" y="1237"/>
                </a:lnTo>
                <a:lnTo>
                  <a:pt x="2293" y="1209"/>
                </a:lnTo>
                <a:lnTo>
                  <a:pt x="2290" y="1180"/>
                </a:lnTo>
                <a:lnTo>
                  <a:pt x="2288" y="1150"/>
                </a:lnTo>
                <a:lnTo>
                  <a:pt x="2288" y="1135"/>
                </a:lnTo>
                <a:lnTo>
                  <a:pt x="2287" y="1120"/>
                </a:lnTo>
                <a:lnTo>
                  <a:pt x="2288" y="1093"/>
                </a:lnTo>
                <a:lnTo>
                  <a:pt x="2290" y="1066"/>
                </a:lnTo>
                <a:lnTo>
                  <a:pt x="2293" y="1039"/>
                </a:lnTo>
                <a:lnTo>
                  <a:pt x="2297" y="1013"/>
                </a:lnTo>
                <a:lnTo>
                  <a:pt x="2302" y="987"/>
                </a:lnTo>
                <a:lnTo>
                  <a:pt x="2305" y="975"/>
                </a:lnTo>
                <a:lnTo>
                  <a:pt x="2308" y="962"/>
                </a:lnTo>
                <a:lnTo>
                  <a:pt x="2311" y="950"/>
                </a:lnTo>
                <a:lnTo>
                  <a:pt x="2315" y="938"/>
                </a:lnTo>
                <a:lnTo>
                  <a:pt x="2319" y="926"/>
                </a:lnTo>
                <a:lnTo>
                  <a:pt x="2323" y="914"/>
                </a:lnTo>
                <a:lnTo>
                  <a:pt x="2332" y="890"/>
                </a:lnTo>
                <a:lnTo>
                  <a:pt x="2342" y="868"/>
                </a:lnTo>
                <a:lnTo>
                  <a:pt x="2348" y="857"/>
                </a:lnTo>
                <a:lnTo>
                  <a:pt x="2354" y="846"/>
                </a:lnTo>
                <a:lnTo>
                  <a:pt x="2366" y="825"/>
                </a:lnTo>
                <a:lnTo>
                  <a:pt x="2379" y="805"/>
                </a:lnTo>
                <a:lnTo>
                  <a:pt x="2386" y="795"/>
                </a:lnTo>
                <a:lnTo>
                  <a:pt x="2393" y="785"/>
                </a:lnTo>
                <a:lnTo>
                  <a:pt x="2400" y="775"/>
                </a:lnTo>
                <a:lnTo>
                  <a:pt x="2408" y="766"/>
                </a:lnTo>
                <a:lnTo>
                  <a:pt x="2424" y="748"/>
                </a:lnTo>
                <a:lnTo>
                  <a:pt x="2440" y="731"/>
                </a:lnTo>
                <a:lnTo>
                  <a:pt x="2458" y="715"/>
                </a:lnTo>
                <a:lnTo>
                  <a:pt x="2476" y="700"/>
                </a:lnTo>
                <a:lnTo>
                  <a:pt x="2486" y="693"/>
                </a:lnTo>
                <a:lnTo>
                  <a:pt x="2495" y="685"/>
                </a:lnTo>
                <a:lnTo>
                  <a:pt x="2515" y="672"/>
                </a:lnTo>
                <a:lnTo>
                  <a:pt x="2526" y="666"/>
                </a:lnTo>
                <a:lnTo>
                  <a:pt x="2536" y="660"/>
                </a:lnTo>
                <a:lnTo>
                  <a:pt x="2547" y="654"/>
                </a:lnTo>
                <a:lnTo>
                  <a:pt x="2557" y="649"/>
                </a:lnTo>
                <a:lnTo>
                  <a:pt x="2580" y="638"/>
                </a:lnTo>
                <a:lnTo>
                  <a:pt x="2591" y="634"/>
                </a:lnTo>
                <a:lnTo>
                  <a:pt x="2603" y="629"/>
                </a:lnTo>
                <a:lnTo>
                  <a:pt x="2626" y="621"/>
                </a:lnTo>
                <a:lnTo>
                  <a:pt x="2638" y="618"/>
                </a:lnTo>
                <a:lnTo>
                  <a:pt x="2652" y="614"/>
                </a:lnTo>
                <a:lnTo>
                  <a:pt x="2677" y="609"/>
                </a:lnTo>
                <a:lnTo>
                  <a:pt x="2689" y="606"/>
                </a:lnTo>
                <a:lnTo>
                  <a:pt x="2702" y="604"/>
                </a:lnTo>
                <a:lnTo>
                  <a:pt x="2729" y="601"/>
                </a:lnTo>
                <a:lnTo>
                  <a:pt x="2755" y="599"/>
                </a:lnTo>
                <a:lnTo>
                  <a:pt x="2783" y="599"/>
                </a:lnTo>
                <a:lnTo>
                  <a:pt x="2812" y="599"/>
                </a:lnTo>
                <a:lnTo>
                  <a:pt x="2826" y="600"/>
                </a:lnTo>
                <a:lnTo>
                  <a:pt x="2840" y="601"/>
                </a:lnTo>
                <a:lnTo>
                  <a:pt x="2853" y="602"/>
                </a:lnTo>
                <a:lnTo>
                  <a:pt x="2867" y="604"/>
                </a:lnTo>
                <a:lnTo>
                  <a:pt x="2893" y="609"/>
                </a:lnTo>
                <a:lnTo>
                  <a:pt x="2919" y="614"/>
                </a:lnTo>
                <a:lnTo>
                  <a:pt x="2931" y="617"/>
                </a:lnTo>
                <a:lnTo>
                  <a:pt x="2944" y="621"/>
                </a:lnTo>
                <a:lnTo>
                  <a:pt x="2968" y="629"/>
                </a:lnTo>
                <a:lnTo>
                  <a:pt x="2979" y="633"/>
                </a:lnTo>
                <a:lnTo>
                  <a:pt x="2991" y="638"/>
                </a:lnTo>
                <a:lnTo>
                  <a:pt x="3013" y="648"/>
                </a:lnTo>
                <a:lnTo>
                  <a:pt x="3034" y="659"/>
                </a:lnTo>
                <a:lnTo>
                  <a:pt x="3056" y="671"/>
                </a:lnTo>
                <a:lnTo>
                  <a:pt x="3066" y="677"/>
                </a:lnTo>
                <a:lnTo>
                  <a:pt x="3076" y="684"/>
                </a:lnTo>
                <a:lnTo>
                  <a:pt x="3085" y="691"/>
                </a:lnTo>
                <a:lnTo>
                  <a:pt x="3095" y="698"/>
                </a:lnTo>
                <a:lnTo>
                  <a:pt x="3113" y="713"/>
                </a:lnTo>
                <a:lnTo>
                  <a:pt x="3130" y="729"/>
                </a:lnTo>
                <a:lnTo>
                  <a:pt x="3146" y="746"/>
                </a:lnTo>
                <a:lnTo>
                  <a:pt x="3153" y="755"/>
                </a:lnTo>
                <a:lnTo>
                  <a:pt x="3161" y="764"/>
                </a:lnTo>
                <a:lnTo>
                  <a:pt x="3168" y="774"/>
                </a:lnTo>
                <a:lnTo>
                  <a:pt x="3175" y="783"/>
                </a:lnTo>
                <a:lnTo>
                  <a:pt x="3189" y="803"/>
                </a:lnTo>
                <a:lnTo>
                  <a:pt x="3201" y="823"/>
                </a:lnTo>
                <a:lnTo>
                  <a:pt x="3213" y="844"/>
                </a:lnTo>
                <a:lnTo>
                  <a:pt x="3218" y="855"/>
                </a:lnTo>
                <a:lnTo>
                  <a:pt x="3223" y="867"/>
                </a:lnTo>
                <a:lnTo>
                  <a:pt x="3233" y="889"/>
                </a:lnTo>
                <a:lnTo>
                  <a:pt x="3237" y="901"/>
                </a:lnTo>
                <a:lnTo>
                  <a:pt x="3241" y="913"/>
                </a:lnTo>
                <a:lnTo>
                  <a:pt x="3249" y="937"/>
                </a:lnTo>
                <a:lnTo>
                  <a:pt x="3256" y="962"/>
                </a:lnTo>
                <a:lnTo>
                  <a:pt x="3261" y="988"/>
                </a:lnTo>
                <a:lnTo>
                  <a:pt x="3266" y="1014"/>
                </a:lnTo>
                <a:lnTo>
                  <a:pt x="3268" y="1027"/>
                </a:lnTo>
                <a:lnTo>
                  <a:pt x="3270" y="1041"/>
                </a:lnTo>
                <a:lnTo>
                  <a:pt x="3271" y="1054"/>
                </a:lnTo>
                <a:lnTo>
                  <a:pt x="3272" y="1068"/>
                </a:lnTo>
                <a:lnTo>
                  <a:pt x="3273" y="1082"/>
                </a:lnTo>
                <a:lnTo>
                  <a:pt x="3274" y="1096"/>
                </a:lnTo>
                <a:lnTo>
                  <a:pt x="3274" y="1124"/>
                </a:lnTo>
                <a:close/>
                <a:moveTo>
                  <a:pt x="558" y="2104"/>
                </a:moveTo>
                <a:lnTo>
                  <a:pt x="577" y="2105"/>
                </a:lnTo>
                <a:lnTo>
                  <a:pt x="595" y="2107"/>
                </a:lnTo>
                <a:lnTo>
                  <a:pt x="603" y="2108"/>
                </a:lnTo>
                <a:lnTo>
                  <a:pt x="612" y="2110"/>
                </a:lnTo>
                <a:lnTo>
                  <a:pt x="628" y="2114"/>
                </a:lnTo>
                <a:lnTo>
                  <a:pt x="636" y="2117"/>
                </a:lnTo>
                <a:lnTo>
                  <a:pt x="643" y="2120"/>
                </a:lnTo>
                <a:lnTo>
                  <a:pt x="656" y="2126"/>
                </a:lnTo>
                <a:lnTo>
                  <a:pt x="663" y="2130"/>
                </a:lnTo>
                <a:lnTo>
                  <a:pt x="669" y="2134"/>
                </a:lnTo>
                <a:lnTo>
                  <a:pt x="675" y="2138"/>
                </a:lnTo>
                <a:lnTo>
                  <a:pt x="680" y="2142"/>
                </a:lnTo>
                <a:lnTo>
                  <a:pt x="685" y="2147"/>
                </a:lnTo>
                <a:lnTo>
                  <a:pt x="690" y="2152"/>
                </a:lnTo>
                <a:lnTo>
                  <a:pt x="695" y="2158"/>
                </a:lnTo>
                <a:lnTo>
                  <a:pt x="699" y="2163"/>
                </a:lnTo>
                <a:lnTo>
                  <a:pt x="703" y="2169"/>
                </a:lnTo>
                <a:lnTo>
                  <a:pt x="706" y="2175"/>
                </a:lnTo>
                <a:lnTo>
                  <a:pt x="713" y="2188"/>
                </a:lnTo>
                <a:lnTo>
                  <a:pt x="717" y="2202"/>
                </a:lnTo>
                <a:lnTo>
                  <a:pt x="719" y="2209"/>
                </a:lnTo>
                <a:lnTo>
                  <a:pt x="721" y="2217"/>
                </a:lnTo>
                <a:lnTo>
                  <a:pt x="722" y="2225"/>
                </a:lnTo>
                <a:lnTo>
                  <a:pt x="723" y="2233"/>
                </a:lnTo>
                <a:lnTo>
                  <a:pt x="724" y="2241"/>
                </a:lnTo>
                <a:lnTo>
                  <a:pt x="724" y="2250"/>
                </a:lnTo>
                <a:lnTo>
                  <a:pt x="724" y="2258"/>
                </a:lnTo>
                <a:lnTo>
                  <a:pt x="723" y="2267"/>
                </a:lnTo>
                <a:lnTo>
                  <a:pt x="722" y="2275"/>
                </a:lnTo>
                <a:lnTo>
                  <a:pt x="721" y="2282"/>
                </a:lnTo>
                <a:lnTo>
                  <a:pt x="717" y="2297"/>
                </a:lnTo>
                <a:lnTo>
                  <a:pt x="715" y="2304"/>
                </a:lnTo>
                <a:lnTo>
                  <a:pt x="713" y="2311"/>
                </a:lnTo>
                <a:lnTo>
                  <a:pt x="710" y="2318"/>
                </a:lnTo>
                <a:lnTo>
                  <a:pt x="706" y="2324"/>
                </a:lnTo>
                <a:lnTo>
                  <a:pt x="703" y="2330"/>
                </a:lnTo>
                <a:lnTo>
                  <a:pt x="699" y="2336"/>
                </a:lnTo>
                <a:lnTo>
                  <a:pt x="695" y="2342"/>
                </a:lnTo>
                <a:lnTo>
                  <a:pt x="690" y="2347"/>
                </a:lnTo>
                <a:lnTo>
                  <a:pt x="685" y="2352"/>
                </a:lnTo>
                <a:lnTo>
                  <a:pt x="680" y="2357"/>
                </a:lnTo>
                <a:lnTo>
                  <a:pt x="675" y="2361"/>
                </a:lnTo>
                <a:lnTo>
                  <a:pt x="669" y="2365"/>
                </a:lnTo>
                <a:lnTo>
                  <a:pt x="656" y="2373"/>
                </a:lnTo>
                <a:lnTo>
                  <a:pt x="643" y="2380"/>
                </a:lnTo>
                <a:lnTo>
                  <a:pt x="628" y="2385"/>
                </a:lnTo>
                <a:lnTo>
                  <a:pt x="612" y="2389"/>
                </a:lnTo>
                <a:lnTo>
                  <a:pt x="603" y="2391"/>
                </a:lnTo>
                <a:lnTo>
                  <a:pt x="595" y="2392"/>
                </a:lnTo>
                <a:lnTo>
                  <a:pt x="586" y="2393"/>
                </a:lnTo>
                <a:lnTo>
                  <a:pt x="577" y="2394"/>
                </a:lnTo>
                <a:lnTo>
                  <a:pt x="568" y="2394"/>
                </a:lnTo>
                <a:lnTo>
                  <a:pt x="558" y="2395"/>
                </a:lnTo>
                <a:lnTo>
                  <a:pt x="479" y="2395"/>
                </a:lnTo>
                <a:lnTo>
                  <a:pt x="479" y="2553"/>
                </a:lnTo>
                <a:lnTo>
                  <a:pt x="410" y="2553"/>
                </a:lnTo>
                <a:lnTo>
                  <a:pt x="410" y="2104"/>
                </a:lnTo>
                <a:lnTo>
                  <a:pt x="558" y="2104"/>
                </a:lnTo>
                <a:close/>
                <a:moveTo>
                  <a:pt x="653" y="2250"/>
                </a:moveTo>
                <a:lnTo>
                  <a:pt x="652" y="2241"/>
                </a:lnTo>
                <a:lnTo>
                  <a:pt x="651" y="2232"/>
                </a:lnTo>
                <a:lnTo>
                  <a:pt x="649" y="2224"/>
                </a:lnTo>
                <a:lnTo>
                  <a:pt x="647" y="2216"/>
                </a:lnTo>
                <a:lnTo>
                  <a:pt x="643" y="2209"/>
                </a:lnTo>
                <a:lnTo>
                  <a:pt x="639" y="2202"/>
                </a:lnTo>
                <a:lnTo>
                  <a:pt x="637" y="2199"/>
                </a:lnTo>
                <a:lnTo>
                  <a:pt x="634" y="2196"/>
                </a:lnTo>
                <a:lnTo>
                  <a:pt x="629" y="2191"/>
                </a:lnTo>
                <a:lnTo>
                  <a:pt x="623" y="2186"/>
                </a:lnTo>
                <a:lnTo>
                  <a:pt x="616" y="2181"/>
                </a:lnTo>
                <a:lnTo>
                  <a:pt x="607" y="2178"/>
                </a:lnTo>
                <a:lnTo>
                  <a:pt x="603" y="2176"/>
                </a:lnTo>
                <a:lnTo>
                  <a:pt x="598" y="2175"/>
                </a:lnTo>
                <a:lnTo>
                  <a:pt x="589" y="2172"/>
                </a:lnTo>
                <a:lnTo>
                  <a:pt x="579" y="2171"/>
                </a:lnTo>
                <a:lnTo>
                  <a:pt x="569" y="2170"/>
                </a:lnTo>
                <a:lnTo>
                  <a:pt x="557" y="2169"/>
                </a:lnTo>
                <a:lnTo>
                  <a:pt x="479" y="2169"/>
                </a:lnTo>
                <a:lnTo>
                  <a:pt x="479" y="2330"/>
                </a:lnTo>
                <a:lnTo>
                  <a:pt x="557" y="2330"/>
                </a:lnTo>
                <a:lnTo>
                  <a:pt x="569" y="2329"/>
                </a:lnTo>
                <a:lnTo>
                  <a:pt x="579" y="2328"/>
                </a:lnTo>
                <a:lnTo>
                  <a:pt x="589" y="2327"/>
                </a:lnTo>
                <a:lnTo>
                  <a:pt x="598" y="2324"/>
                </a:lnTo>
                <a:lnTo>
                  <a:pt x="607" y="2321"/>
                </a:lnTo>
                <a:lnTo>
                  <a:pt x="616" y="2318"/>
                </a:lnTo>
                <a:lnTo>
                  <a:pt x="623" y="2314"/>
                </a:lnTo>
                <a:lnTo>
                  <a:pt x="629" y="2309"/>
                </a:lnTo>
                <a:lnTo>
                  <a:pt x="634" y="2303"/>
                </a:lnTo>
                <a:lnTo>
                  <a:pt x="639" y="2297"/>
                </a:lnTo>
                <a:lnTo>
                  <a:pt x="643" y="2291"/>
                </a:lnTo>
                <a:lnTo>
                  <a:pt x="647" y="2284"/>
                </a:lnTo>
                <a:lnTo>
                  <a:pt x="649" y="2276"/>
                </a:lnTo>
                <a:lnTo>
                  <a:pt x="651" y="2268"/>
                </a:lnTo>
                <a:lnTo>
                  <a:pt x="652" y="2259"/>
                </a:lnTo>
                <a:lnTo>
                  <a:pt x="653" y="2250"/>
                </a:lnTo>
                <a:close/>
                <a:moveTo>
                  <a:pt x="905" y="2226"/>
                </a:moveTo>
                <a:lnTo>
                  <a:pt x="922" y="2227"/>
                </a:lnTo>
                <a:lnTo>
                  <a:pt x="931" y="2228"/>
                </a:lnTo>
                <a:lnTo>
                  <a:pt x="935" y="2228"/>
                </a:lnTo>
                <a:lnTo>
                  <a:pt x="939" y="2229"/>
                </a:lnTo>
                <a:lnTo>
                  <a:pt x="947" y="2231"/>
                </a:lnTo>
                <a:lnTo>
                  <a:pt x="954" y="2233"/>
                </a:lnTo>
                <a:lnTo>
                  <a:pt x="969" y="2238"/>
                </a:lnTo>
                <a:lnTo>
                  <a:pt x="976" y="2241"/>
                </a:lnTo>
                <a:lnTo>
                  <a:pt x="983" y="2245"/>
                </a:lnTo>
                <a:lnTo>
                  <a:pt x="996" y="2253"/>
                </a:lnTo>
                <a:lnTo>
                  <a:pt x="1009" y="2262"/>
                </a:lnTo>
                <a:lnTo>
                  <a:pt x="1014" y="2267"/>
                </a:lnTo>
                <a:lnTo>
                  <a:pt x="1021" y="2273"/>
                </a:lnTo>
                <a:lnTo>
                  <a:pt x="1026" y="2279"/>
                </a:lnTo>
                <a:lnTo>
                  <a:pt x="1031" y="2284"/>
                </a:lnTo>
                <a:lnTo>
                  <a:pt x="1036" y="2291"/>
                </a:lnTo>
                <a:lnTo>
                  <a:pt x="1040" y="2297"/>
                </a:lnTo>
                <a:lnTo>
                  <a:pt x="1044" y="2304"/>
                </a:lnTo>
                <a:lnTo>
                  <a:pt x="1048" y="2311"/>
                </a:lnTo>
                <a:lnTo>
                  <a:pt x="1051" y="2318"/>
                </a:lnTo>
                <a:lnTo>
                  <a:pt x="1054" y="2325"/>
                </a:lnTo>
                <a:lnTo>
                  <a:pt x="1057" y="2333"/>
                </a:lnTo>
                <a:lnTo>
                  <a:pt x="1059" y="2341"/>
                </a:lnTo>
                <a:lnTo>
                  <a:pt x="1061" y="2349"/>
                </a:lnTo>
                <a:lnTo>
                  <a:pt x="1063" y="2357"/>
                </a:lnTo>
                <a:lnTo>
                  <a:pt x="1064" y="2366"/>
                </a:lnTo>
                <a:lnTo>
                  <a:pt x="1065" y="2374"/>
                </a:lnTo>
                <a:lnTo>
                  <a:pt x="1066" y="2383"/>
                </a:lnTo>
                <a:lnTo>
                  <a:pt x="1066" y="2392"/>
                </a:lnTo>
                <a:lnTo>
                  <a:pt x="1066" y="2401"/>
                </a:lnTo>
                <a:lnTo>
                  <a:pt x="1065" y="2410"/>
                </a:lnTo>
                <a:lnTo>
                  <a:pt x="1064" y="2418"/>
                </a:lnTo>
                <a:lnTo>
                  <a:pt x="1063" y="2427"/>
                </a:lnTo>
                <a:lnTo>
                  <a:pt x="1061" y="2435"/>
                </a:lnTo>
                <a:lnTo>
                  <a:pt x="1059" y="2443"/>
                </a:lnTo>
                <a:lnTo>
                  <a:pt x="1057" y="2451"/>
                </a:lnTo>
                <a:lnTo>
                  <a:pt x="1054" y="2458"/>
                </a:lnTo>
                <a:lnTo>
                  <a:pt x="1051" y="2466"/>
                </a:lnTo>
                <a:lnTo>
                  <a:pt x="1048" y="2473"/>
                </a:lnTo>
                <a:lnTo>
                  <a:pt x="1040" y="2487"/>
                </a:lnTo>
                <a:lnTo>
                  <a:pt x="1036" y="2493"/>
                </a:lnTo>
                <a:lnTo>
                  <a:pt x="1031" y="2499"/>
                </a:lnTo>
                <a:lnTo>
                  <a:pt x="1021" y="2511"/>
                </a:lnTo>
                <a:lnTo>
                  <a:pt x="1014" y="2516"/>
                </a:lnTo>
                <a:lnTo>
                  <a:pt x="1009" y="2521"/>
                </a:lnTo>
                <a:lnTo>
                  <a:pt x="1003" y="2526"/>
                </a:lnTo>
                <a:lnTo>
                  <a:pt x="996" y="2531"/>
                </a:lnTo>
                <a:lnTo>
                  <a:pt x="990" y="2535"/>
                </a:lnTo>
                <a:lnTo>
                  <a:pt x="983" y="2539"/>
                </a:lnTo>
                <a:lnTo>
                  <a:pt x="976" y="2542"/>
                </a:lnTo>
                <a:lnTo>
                  <a:pt x="969" y="2546"/>
                </a:lnTo>
                <a:lnTo>
                  <a:pt x="962" y="2548"/>
                </a:lnTo>
                <a:lnTo>
                  <a:pt x="954" y="2551"/>
                </a:lnTo>
                <a:lnTo>
                  <a:pt x="939" y="2555"/>
                </a:lnTo>
                <a:lnTo>
                  <a:pt x="922" y="2557"/>
                </a:lnTo>
                <a:lnTo>
                  <a:pt x="905" y="2558"/>
                </a:lnTo>
                <a:lnTo>
                  <a:pt x="888" y="2557"/>
                </a:lnTo>
                <a:lnTo>
                  <a:pt x="880" y="2556"/>
                </a:lnTo>
                <a:lnTo>
                  <a:pt x="876" y="2556"/>
                </a:lnTo>
                <a:lnTo>
                  <a:pt x="872" y="2555"/>
                </a:lnTo>
                <a:lnTo>
                  <a:pt x="864" y="2553"/>
                </a:lnTo>
                <a:lnTo>
                  <a:pt x="856" y="2551"/>
                </a:lnTo>
                <a:lnTo>
                  <a:pt x="849" y="2548"/>
                </a:lnTo>
                <a:lnTo>
                  <a:pt x="842" y="2546"/>
                </a:lnTo>
                <a:lnTo>
                  <a:pt x="835" y="2542"/>
                </a:lnTo>
                <a:lnTo>
                  <a:pt x="828" y="2539"/>
                </a:lnTo>
                <a:lnTo>
                  <a:pt x="815" y="2531"/>
                </a:lnTo>
                <a:lnTo>
                  <a:pt x="802" y="2521"/>
                </a:lnTo>
                <a:lnTo>
                  <a:pt x="797" y="2516"/>
                </a:lnTo>
                <a:lnTo>
                  <a:pt x="791" y="2511"/>
                </a:lnTo>
                <a:lnTo>
                  <a:pt x="786" y="2505"/>
                </a:lnTo>
                <a:lnTo>
                  <a:pt x="781" y="2499"/>
                </a:lnTo>
                <a:lnTo>
                  <a:pt x="779" y="2496"/>
                </a:lnTo>
                <a:lnTo>
                  <a:pt x="776" y="2493"/>
                </a:lnTo>
                <a:lnTo>
                  <a:pt x="772" y="2487"/>
                </a:lnTo>
                <a:lnTo>
                  <a:pt x="764" y="2473"/>
                </a:lnTo>
                <a:lnTo>
                  <a:pt x="758" y="2458"/>
                </a:lnTo>
                <a:lnTo>
                  <a:pt x="755" y="2451"/>
                </a:lnTo>
                <a:lnTo>
                  <a:pt x="753" y="2443"/>
                </a:lnTo>
                <a:lnTo>
                  <a:pt x="751" y="2435"/>
                </a:lnTo>
                <a:lnTo>
                  <a:pt x="749" y="2427"/>
                </a:lnTo>
                <a:lnTo>
                  <a:pt x="748" y="2418"/>
                </a:lnTo>
                <a:lnTo>
                  <a:pt x="747" y="2410"/>
                </a:lnTo>
                <a:lnTo>
                  <a:pt x="746" y="2401"/>
                </a:lnTo>
                <a:lnTo>
                  <a:pt x="746" y="2392"/>
                </a:lnTo>
                <a:lnTo>
                  <a:pt x="746" y="2383"/>
                </a:lnTo>
                <a:lnTo>
                  <a:pt x="747" y="2374"/>
                </a:lnTo>
                <a:lnTo>
                  <a:pt x="748" y="2366"/>
                </a:lnTo>
                <a:lnTo>
                  <a:pt x="749" y="2357"/>
                </a:lnTo>
                <a:lnTo>
                  <a:pt x="751" y="2349"/>
                </a:lnTo>
                <a:lnTo>
                  <a:pt x="753" y="2341"/>
                </a:lnTo>
                <a:lnTo>
                  <a:pt x="755" y="2333"/>
                </a:lnTo>
                <a:lnTo>
                  <a:pt x="758" y="2325"/>
                </a:lnTo>
                <a:lnTo>
                  <a:pt x="761" y="2318"/>
                </a:lnTo>
                <a:lnTo>
                  <a:pt x="764" y="2311"/>
                </a:lnTo>
                <a:lnTo>
                  <a:pt x="768" y="2304"/>
                </a:lnTo>
                <a:lnTo>
                  <a:pt x="772" y="2297"/>
                </a:lnTo>
                <a:lnTo>
                  <a:pt x="776" y="2291"/>
                </a:lnTo>
                <a:lnTo>
                  <a:pt x="781" y="2284"/>
                </a:lnTo>
                <a:lnTo>
                  <a:pt x="791" y="2273"/>
                </a:lnTo>
                <a:lnTo>
                  <a:pt x="797" y="2267"/>
                </a:lnTo>
                <a:lnTo>
                  <a:pt x="802" y="2262"/>
                </a:lnTo>
                <a:lnTo>
                  <a:pt x="808" y="2258"/>
                </a:lnTo>
                <a:lnTo>
                  <a:pt x="815" y="2253"/>
                </a:lnTo>
                <a:lnTo>
                  <a:pt x="821" y="2249"/>
                </a:lnTo>
                <a:lnTo>
                  <a:pt x="828" y="2245"/>
                </a:lnTo>
                <a:lnTo>
                  <a:pt x="835" y="2241"/>
                </a:lnTo>
                <a:lnTo>
                  <a:pt x="842" y="2238"/>
                </a:lnTo>
                <a:lnTo>
                  <a:pt x="849" y="2235"/>
                </a:lnTo>
                <a:lnTo>
                  <a:pt x="856" y="2233"/>
                </a:lnTo>
                <a:lnTo>
                  <a:pt x="872" y="2229"/>
                </a:lnTo>
                <a:lnTo>
                  <a:pt x="888" y="2227"/>
                </a:lnTo>
                <a:lnTo>
                  <a:pt x="905" y="2226"/>
                </a:lnTo>
                <a:close/>
                <a:moveTo>
                  <a:pt x="905" y="2497"/>
                </a:moveTo>
                <a:lnTo>
                  <a:pt x="915" y="2497"/>
                </a:lnTo>
                <a:lnTo>
                  <a:pt x="925" y="2495"/>
                </a:lnTo>
                <a:lnTo>
                  <a:pt x="935" y="2493"/>
                </a:lnTo>
                <a:lnTo>
                  <a:pt x="943" y="2490"/>
                </a:lnTo>
                <a:lnTo>
                  <a:pt x="952" y="2485"/>
                </a:lnTo>
                <a:lnTo>
                  <a:pt x="959" y="2480"/>
                </a:lnTo>
                <a:lnTo>
                  <a:pt x="967" y="2474"/>
                </a:lnTo>
                <a:lnTo>
                  <a:pt x="973" y="2468"/>
                </a:lnTo>
                <a:lnTo>
                  <a:pt x="979" y="2461"/>
                </a:lnTo>
                <a:lnTo>
                  <a:pt x="984" y="2453"/>
                </a:lnTo>
                <a:lnTo>
                  <a:pt x="988" y="2444"/>
                </a:lnTo>
                <a:lnTo>
                  <a:pt x="992" y="2435"/>
                </a:lnTo>
                <a:lnTo>
                  <a:pt x="995" y="2425"/>
                </a:lnTo>
                <a:lnTo>
                  <a:pt x="997" y="2414"/>
                </a:lnTo>
                <a:lnTo>
                  <a:pt x="999" y="2403"/>
                </a:lnTo>
                <a:lnTo>
                  <a:pt x="999" y="2392"/>
                </a:lnTo>
                <a:lnTo>
                  <a:pt x="999" y="2380"/>
                </a:lnTo>
                <a:lnTo>
                  <a:pt x="997" y="2370"/>
                </a:lnTo>
                <a:lnTo>
                  <a:pt x="995" y="2359"/>
                </a:lnTo>
                <a:lnTo>
                  <a:pt x="994" y="2354"/>
                </a:lnTo>
                <a:lnTo>
                  <a:pt x="992" y="2349"/>
                </a:lnTo>
                <a:lnTo>
                  <a:pt x="990" y="2344"/>
                </a:lnTo>
                <a:lnTo>
                  <a:pt x="988" y="2340"/>
                </a:lnTo>
                <a:lnTo>
                  <a:pt x="986" y="2335"/>
                </a:lnTo>
                <a:lnTo>
                  <a:pt x="984" y="2331"/>
                </a:lnTo>
                <a:lnTo>
                  <a:pt x="982" y="2327"/>
                </a:lnTo>
                <a:lnTo>
                  <a:pt x="979" y="2323"/>
                </a:lnTo>
                <a:lnTo>
                  <a:pt x="973" y="2316"/>
                </a:lnTo>
                <a:lnTo>
                  <a:pt x="967" y="2309"/>
                </a:lnTo>
                <a:lnTo>
                  <a:pt x="959" y="2303"/>
                </a:lnTo>
                <a:lnTo>
                  <a:pt x="952" y="2298"/>
                </a:lnTo>
                <a:lnTo>
                  <a:pt x="943" y="2294"/>
                </a:lnTo>
                <a:lnTo>
                  <a:pt x="939" y="2292"/>
                </a:lnTo>
                <a:lnTo>
                  <a:pt x="935" y="2291"/>
                </a:lnTo>
                <a:lnTo>
                  <a:pt x="925" y="2288"/>
                </a:lnTo>
                <a:lnTo>
                  <a:pt x="915" y="2287"/>
                </a:lnTo>
                <a:lnTo>
                  <a:pt x="905" y="2286"/>
                </a:lnTo>
                <a:lnTo>
                  <a:pt x="895" y="2287"/>
                </a:lnTo>
                <a:lnTo>
                  <a:pt x="885" y="2288"/>
                </a:lnTo>
                <a:lnTo>
                  <a:pt x="876" y="2291"/>
                </a:lnTo>
                <a:lnTo>
                  <a:pt x="867" y="2294"/>
                </a:lnTo>
                <a:lnTo>
                  <a:pt x="859" y="2298"/>
                </a:lnTo>
                <a:lnTo>
                  <a:pt x="851" y="2303"/>
                </a:lnTo>
                <a:lnTo>
                  <a:pt x="844" y="2309"/>
                </a:lnTo>
                <a:lnTo>
                  <a:pt x="838" y="2316"/>
                </a:lnTo>
                <a:lnTo>
                  <a:pt x="832" y="2323"/>
                </a:lnTo>
                <a:lnTo>
                  <a:pt x="827" y="2331"/>
                </a:lnTo>
                <a:lnTo>
                  <a:pt x="822" y="2340"/>
                </a:lnTo>
                <a:lnTo>
                  <a:pt x="818" y="2349"/>
                </a:lnTo>
                <a:lnTo>
                  <a:pt x="815" y="2359"/>
                </a:lnTo>
                <a:lnTo>
                  <a:pt x="813" y="2370"/>
                </a:lnTo>
                <a:lnTo>
                  <a:pt x="812" y="2380"/>
                </a:lnTo>
                <a:lnTo>
                  <a:pt x="811" y="2392"/>
                </a:lnTo>
                <a:lnTo>
                  <a:pt x="812" y="2403"/>
                </a:lnTo>
                <a:lnTo>
                  <a:pt x="813" y="2414"/>
                </a:lnTo>
                <a:lnTo>
                  <a:pt x="815" y="2425"/>
                </a:lnTo>
                <a:lnTo>
                  <a:pt x="817" y="2430"/>
                </a:lnTo>
                <a:lnTo>
                  <a:pt x="818" y="2435"/>
                </a:lnTo>
                <a:lnTo>
                  <a:pt x="820" y="2439"/>
                </a:lnTo>
                <a:lnTo>
                  <a:pt x="822" y="2444"/>
                </a:lnTo>
                <a:lnTo>
                  <a:pt x="824" y="2448"/>
                </a:lnTo>
                <a:lnTo>
                  <a:pt x="827" y="2453"/>
                </a:lnTo>
                <a:lnTo>
                  <a:pt x="829" y="2457"/>
                </a:lnTo>
                <a:lnTo>
                  <a:pt x="832" y="2461"/>
                </a:lnTo>
                <a:lnTo>
                  <a:pt x="835" y="2464"/>
                </a:lnTo>
                <a:lnTo>
                  <a:pt x="838" y="2468"/>
                </a:lnTo>
                <a:lnTo>
                  <a:pt x="844" y="2474"/>
                </a:lnTo>
                <a:lnTo>
                  <a:pt x="851" y="2480"/>
                </a:lnTo>
                <a:lnTo>
                  <a:pt x="859" y="2485"/>
                </a:lnTo>
                <a:lnTo>
                  <a:pt x="867" y="2490"/>
                </a:lnTo>
                <a:lnTo>
                  <a:pt x="872" y="2491"/>
                </a:lnTo>
                <a:lnTo>
                  <a:pt x="876" y="2493"/>
                </a:lnTo>
                <a:lnTo>
                  <a:pt x="885" y="2495"/>
                </a:lnTo>
                <a:lnTo>
                  <a:pt x="895" y="2497"/>
                </a:lnTo>
                <a:lnTo>
                  <a:pt x="905" y="2497"/>
                </a:lnTo>
                <a:close/>
                <a:moveTo>
                  <a:pt x="1207" y="2476"/>
                </a:moveTo>
                <a:lnTo>
                  <a:pt x="1284" y="2231"/>
                </a:lnTo>
                <a:lnTo>
                  <a:pt x="1348" y="2231"/>
                </a:lnTo>
                <a:lnTo>
                  <a:pt x="1426" y="2477"/>
                </a:lnTo>
                <a:lnTo>
                  <a:pt x="1484" y="2231"/>
                </a:lnTo>
                <a:lnTo>
                  <a:pt x="1548" y="2231"/>
                </a:lnTo>
                <a:lnTo>
                  <a:pt x="1467" y="2553"/>
                </a:lnTo>
                <a:lnTo>
                  <a:pt x="1392" y="2553"/>
                </a:lnTo>
                <a:lnTo>
                  <a:pt x="1316" y="2304"/>
                </a:lnTo>
                <a:lnTo>
                  <a:pt x="1239" y="2553"/>
                </a:lnTo>
                <a:lnTo>
                  <a:pt x="1165" y="2553"/>
                </a:lnTo>
                <a:lnTo>
                  <a:pt x="1085" y="2231"/>
                </a:lnTo>
                <a:lnTo>
                  <a:pt x="1150" y="2231"/>
                </a:lnTo>
                <a:lnTo>
                  <a:pt x="1207" y="2476"/>
                </a:lnTo>
                <a:close/>
                <a:moveTo>
                  <a:pt x="1724" y="2226"/>
                </a:moveTo>
                <a:lnTo>
                  <a:pt x="1738" y="2226"/>
                </a:lnTo>
                <a:lnTo>
                  <a:pt x="1746" y="2227"/>
                </a:lnTo>
                <a:lnTo>
                  <a:pt x="1753" y="2228"/>
                </a:lnTo>
                <a:lnTo>
                  <a:pt x="1760" y="2230"/>
                </a:lnTo>
                <a:lnTo>
                  <a:pt x="1767" y="2232"/>
                </a:lnTo>
                <a:lnTo>
                  <a:pt x="1774" y="2234"/>
                </a:lnTo>
                <a:lnTo>
                  <a:pt x="1780" y="2236"/>
                </a:lnTo>
                <a:lnTo>
                  <a:pt x="1793" y="2242"/>
                </a:lnTo>
                <a:lnTo>
                  <a:pt x="1805" y="2249"/>
                </a:lnTo>
                <a:lnTo>
                  <a:pt x="1816" y="2257"/>
                </a:lnTo>
                <a:lnTo>
                  <a:pt x="1826" y="2267"/>
                </a:lnTo>
                <a:lnTo>
                  <a:pt x="1831" y="2272"/>
                </a:lnTo>
                <a:lnTo>
                  <a:pt x="1837" y="2278"/>
                </a:lnTo>
                <a:lnTo>
                  <a:pt x="1841" y="2283"/>
                </a:lnTo>
                <a:lnTo>
                  <a:pt x="1845" y="2290"/>
                </a:lnTo>
                <a:lnTo>
                  <a:pt x="1852" y="2303"/>
                </a:lnTo>
                <a:lnTo>
                  <a:pt x="1855" y="2310"/>
                </a:lnTo>
                <a:lnTo>
                  <a:pt x="1858" y="2317"/>
                </a:lnTo>
                <a:lnTo>
                  <a:pt x="1863" y="2333"/>
                </a:lnTo>
                <a:lnTo>
                  <a:pt x="1865" y="2341"/>
                </a:lnTo>
                <a:lnTo>
                  <a:pt x="1867" y="2350"/>
                </a:lnTo>
                <a:lnTo>
                  <a:pt x="1868" y="2359"/>
                </a:lnTo>
                <a:lnTo>
                  <a:pt x="1869" y="2368"/>
                </a:lnTo>
                <a:lnTo>
                  <a:pt x="1870" y="2377"/>
                </a:lnTo>
                <a:lnTo>
                  <a:pt x="1870" y="2387"/>
                </a:lnTo>
                <a:lnTo>
                  <a:pt x="1870" y="2413"/>
                </a:lnTo>
                <a:lnTo>
                  <a:pt x="1634" y="2413"/>
                </a:lnTo>
                <a:lnTo>
                  <a:pt x="1635" y="2418"/>
                </a:lnTo>
                <a:lnTo>
                  <a:pt x="1635" y="2422"/>
                </a:lnTo>
                <a:lnTo>
                  <a:pt x="1637" y="2431"/>
                </a:lnTo>
                <a:lnTo>
                  <a:pt x="1640" y="2439"/>
                </a:lnTo>
                <a:lnTo>
                  <a:pt x="1643" y="2447"/>
                </a:lnTo>
                <a:lnTo>
                  <a:pt x="1648" y="2454"/>
                </a:lnTo>
                <a:lnTo>
                  <a:pt x="1652" y="2461"/>
                </a:lnTo>
                <a:lnTo>
                  <a:pt x="1658" y="2467"/>
                </a:lnTo>
                <a:lnTo>
                  <a:pt x="1663" y="2473"/>
                </a:lnTo>
                <a:lnTo>
                  <a:pt x="1670" y="2479"/>
                </a:lnTo>
                <a:lnTo>
                  <a:pt x="1677" y="2484"/>
                </a:lnTo>
                <a:lnTo>
                  <a:pt x="1685" y="2488"/>
                </a:lnTo>
                <a:lnTo>
                  <a:pt x="1693" y="2491"/>
                </a:lnTo>
                <a:lnTo>
                  <a:pt x="1702" y="2494"/>
                </a:lnTo>
                <a:lnTo>
                  <a:pt x="1711" y="2496"/>
                </a:lnTo>
                <a:lnTo>
                  <a:pt x="1721" y="2498"/>
                </a:lnTo>
                <a:lnTo>
                  <a:pt x="1732" y="2498"/>
                </a:lnTo>
                <a:lnTo>
                  <a:pt x="1744" y="2498"/>
                </a:lnTo>
                <a:lnTo>
                  <a:pt x="1750" y="2497"/>
                </a:lnTo>
                <a:lnTo>
                  <a:pt x="1756" y="2496"/>
                </a:lnTo>
                <a:lnTo>
                  <a:pt x="1768" y="2493"/>
                </a:lnTo>
                <a:lnTo>
                  <a:pt x="1780" y="2489"/>
                </a:lnTo>
                <a:lnTo>
                  <a:pt x="1791" y="2484"/>
                </a:lnTo>
                <a:lnTo>
                  <a:pt x="1797" y="2481"/>
                </a:lnTo>
                <a:lnTo>
                  <a:pt x="1802" y="2477"/>
                </a:lnTo>
                <a:lnTo>
                  <a:pt x="1813" y="2469"/>
                </a:lnTo>
                <a:lnTo>
                  <a:pt x="1823" y="2459"/>
                </a:lnTo>
                <a:lnTo>
                  <a:pt x="1853" y="2510"/>
                </a:lnTo>
                <a:lnTo>
                  <a:pt x="1847" y="2516"/>
                </a:lnTo>
                <a:lnTo>
                  <a:pt x="1841" y="2521"/>
                </a:lnTo>
                <a:lnTo>
                  <a:pt x="1834" y="2526"/>
                </a:lnTo>
                <a:lnTo>
                  <a:pt x="1827" y="2531"/>
                </a:lnTo>
                <a:lnTo>
                  <a:pt x="1819" y="2535"/>
                </a:lnTo>
                <a:lnTo>
                  <a:pt x="1812" y="2539"/>
                </a:lnTo>
                <a:lnTo>
                  <a:pt x="1805" y="2542"/>
                </a:lnTo>
                <a:lnTo>
                  <a:pt x="1797" y="2546"/>
                </a:lnTo>
                <a:lnTo>
                  <a:pt x="1789" y="2548"/>
                </a:lnTo>
                <a:lnTo>
                  <a:pt x="1781" y="2551"/>
                </a:lnTo>
                <a:lnTo>
                  <a:pt x="1764" y="2555"/>
                </a:lnTo>
                <a:lnTo>
                  <a:pt x="1755" y="2556"/>
                </a:lnTo>
                <a:lnTo>
                  <a:pt x="1746" y="2557"/>
                </a:lnTo>
                <a:lnTo>
                  <a:pt x="1728" y="2558"/>
                </a:lnTo>
                <a:lnTo>
                  <a:pt x="1711" y="2557"/>
                </a:lnTo>
                <a:lnTo>
                  <a:pt x="1703" y="2556"/>
                </a:lnTo>
                <a:lnTo>
                  <a:pt x="1695" y="2555"/>
                </a:lnTo>
                <a:lnTo>
                  <a:pt x="1687" y="2553"/>
                </a:lnTo>
                <a:lnTo>
                  <a:pt x="1679" y="2551"/>
                </a:lnTo>
                <a:lnTo>
                  <a:pt x="1671" y="2548"/>
                </a:lnTo>
                <a:lnTo>
                  <a:pt x="1664" y="2545"/>
                </a:lnTo>
                <a:lnTo>
                  <a:pt x="1656" y="2542"/>
                </a:lnTo>
                <a:lnTo>
                  <a:pt x="1649" y="2539"/>
                </a:lnTo>
                <a:lnTo>
                  <a:pt x="1643" y="2535"/>
                </a:lnTo>
                <a:lnTo>
                  <a:pt x="1636" y="2530"/>
                </a:lnTo>
                <a:lnTo>
                  <a:pt x="1630" y="2526"/>
                </a:lnTo>
                <a:lnTo>
                  <a:pt x="1624" y="2521"/>
                </a:lnTo>
                <a:lnTo>
                  <a:pt x="1618" y="2516"/>
                </a:lnTo>
                <a:lnTo>
                  <a:pt x="1613" y="2510"/>
                </a:lnTo>
                <a:lnTo>
                  <a:pt x="1607" y="2505"/>
                </a:lnTo>
                <a:lnTo>
                  <a:pt x="1602" y="2499"/>
                </a:lnTo>
                <a:lnTo>
                  <a:pt x="1598" y="2492"/>
                </a:lnTo>
                <a:lnTo>
                  <a:pt x="1593" y="2486"/>
                </a:lnTo>
                <a:lnTo>
                  <a:pt x="1589" y="2479"/>
                </a:lnTo>
                <a:lnTo>
                  <a:pt x="1586" y="2472"/>
                </a:lnTo>
                <a:lnTo>
                  <a:pt x="1582" y="2465"/>
                </a:lnTo>
                <a:lnTo>
                  <a:pt x="1579" y="2458"/>
                </a:lnTo>
                <a:lnTo>
                  <a:pt x="1576" y="2450"/>
                </a:lnTo>
                <a:lnTo>
                  <a:pt x="1574" y="2442"/>
                </a:lnTo>
                <a:lnTo>
                  <a:pt x="1572" y="2434"/>
                </a:lnTo>
                <a:lnTo>
                  <a:pt x="1570" y="2426"/>
                </a:lnTo>
                <a:lnTo>
                  <a:pt x="1569" y="2418"/>
                </a:lnTo>
                <a:lnTo>
                  <a:pt x="1568" y="2409"/>
                </a:lnTo>
                <a:lnTo>
                  <a:pt x="1567" y="2401"/>
                </a:lnTo>
                <a:lnTo>
                  <a:pt x="1567" y="2392"/>
                </a:lnTo>
                <a:lnTo>
                  <a:pt x="1568" y="2375"/>
                </a:lnTo>
                <a:lnTo>
                  <a:pt x="1569" y="2366"/>
                </a:lnTo>
                <a:lnTo>
                  <a:pt x="1570" y="2358"/>
                </a:lnTo>
                <a:lnTo>
                  <a:pt x="1572" y="2350"/>
                </a:lnTo>
                <a:lnTo>
                  <a:pt x="1574" y="2342"/>
                </a:lnTo>
                <a:lnTo>
                  <a:pt x="1579" y="2327"/>
                </a:lnTo>
                <a:lnTo>
                  <a:pt x="1585" y="2312"/>
                </a:lnTo>
                <a:lnTo>
                  <a:pt x="1589" y="2305"/>
                </a:lnTo>
                <a:lnTo>
                  <a:pt x="1593" y="2298"/>
                </a:lnTo>
                <a:lnTo>
                  <a:pt x="1597" y="2292"/>
                </a:lnTo>
                <a:lnTo>
                  <a:pt x="1602" y="2286"/>
                </a:lnTo>
                <a:lnTo>
                  <a:pt x="1606" y="2280"/>
                </a:lnTo>
                <a:lnTo>
                  <a:pt x="1611" y="2274"/>
                </a:lnTo>
                <a:lnTo>
                  <a:pt x="1622" y="2263"/>
                </a:lnTo>
                <a:lnTo>
                  <a:pt x="1628" y="2258"/>
                </a:lnTo>
                <a:lnTo>
                  <a:pt x="1634" y="2254"/>
                </a:lnTo>
                <a:lnTo>
                  <a:pt x="1641" y="2249"/>
                </a:lnTo>
                <a:lnTo>
                  <a:pt x="1647" y="2246"/>
                </a:lnTo>
                <a:lnTo>
                  <a:pt x="1661" y="2239"/>
                </a:lnTo>
                <a:lnTo>
                  <a:pt x="1668" y="2236"/>
                </a:lnTo>
                <a:lnTo>
                  <a:pt x="1676" y="2233"/>
                </a:lnTo>
                <a:lnTo>
                  <a:pt x="1683" y="2231"/>
                </a:lnTo>
                <a:lnTo>
                  <a:pt x="1691" y="2229"/>
                </a:lnTo>
                <a:lnTo>
                  <a:pt x="1699" y="2228"/>
                </a:lnTo>
                <a:lnTo>
                  <a:pt x="1707" y="2227"/>
                </a:lnTo>
                <a:lnTo>
                  <a:pt x="1724" y="2226"/>
                </a:lnTo>
                <a:close/>
                <a:moveTo>
                  <a:pt x="1724" y="2286"/>
                </a:moveTo>
                <a:lnTo>
                  <a:pt x="1715" y="2286"/>
                </a:lnTo>
                <a:lnTo>
                  <a:pt x="1707" y="2287"/>
                </a:lnTo>
                <a:lnTo>
                  <a:pt x="1699" y="2289"/>
                </a:lnTo>
                <a:lnTo>
                  <a:pt x="1692" y="2292"/>
                </a:lnTo>
                <a:lnTo>
                  <a:pt x="1684" y="2295"/>
                </a:lnTo>
                <a:lnTo>
                  <a:pt x="1678" y="2299"/>
                </a:lnTo>
                <a:lnTo>
                  <a:pt x="1671" y="2303"/>
                </a:lnTo>
                <a:lnTo>
                  <a:pt x="1665" y="2308"/>
                </a:lnTo>
                <a:lnTo>
                  <a:pt x="1660" y="2313"/>
                </a:lnTo>
                <a:lnTo>
                  <a:pt x="1655" y="2319"/>
                </a:lnTo>
                <a:lnTo>
                  <a:pt x="1650" y="2325"/>
                </a:lnTo>
                <a:lnTo>
                  <a:pt x="1646" y="2331"/>
                </a:lnTo>
                <a:lnTo>
                  <a:pt x="1643" y="2338"/>
                </a:lnTo>
                <a:lnTo>
                  <a:pt x="1640" y="2345"/>
                </a:lnTo>
                <a:lnTo>
                  <a:pt x="1638" y="2353"/>
                </a:lnTo>
                <a:lnTo>
                  <a:pt x="1637" y="2360"/>
                </a:lnTo>
                <a:lnTo>
                  <a:pt x="1805" y="2360"/>
                </a:lnTo>
                <a:lnTo>
                  <a:pt x="1804" y="2351"/>
                </a:lnTo>
                <a:lnTo>
                  <a:pt x="1802" y="2343"/>
                </a:lnTo>
                <a:lnTo>
                  <a:pt x="1799" y="2335"/>
                </a:lnTo>
                <a:lnTo>
                  <a:pt x="1796" y="2328"/>
                </a:lnTo>
                <a:lnTo>
                  <a:pt x="1793" y="2321"/>
                </a:lnTo>
                <a:lnTo>
                  <a:pt x="1790" y="2318"/>
                </a:lnTo>
                <a:lnTo>
                  <a:pt x="1788" y="2315"/>
                </a:lnTo>
                <a:lnTo>
                  <a:pt x="1784" y="2309"/>
                </a:lnTo>
                <a:lnTo>
                  <a:pt x="1781" y="2307"/>
                </a:lnTo>
                <a:lnTo>
                  <a:pt x="1778" y="2304"/>
                </a:lnTo>
                <a:lnTo>
                  <a:pt x="1773" y="2300"/>
                </a:lnTo>
                <a:lnTo>
                  <a:pt x="1767" y="2296"/>
                </a:lnTo>
                <a:lnTo>
                  <a:pt x="1760" y="2293"/>
                </a:lnTo>
                <a:lnTo>
                  <a:pt x="1754" y="2290"/>
                </a:lnTo>
                <a:lnTo>
                  <a:pt x="1747" y="2288"/>
                </a:lnTo>
                <a:lnTo>
                  <a:pt x="1739" y="2287"/>
                </a:lnTo>
                <a:lnTo>
                  <a:pt x="1731" y="2286"/>
                </a:lnTo>
                <a:lnTo>
                  <a:pt x="1724" y="2286"/>
                </a:lnTo>
                <a:close/>
                <a:moveTo>
                  <a:pt x="1987" y="2231"/>
                </a:moveTo>
                <a:lnTo>
                  <a:pt x="1987" y="2300"/>
                </a:lnTo>
                <a:lnTo>
                  <a:pt x="1989" y="2291"/>
                </a:lnTo>
                <a:lnTo>
                  <a:pt x="1992" y="2282"/>
                </a:lnTo>
                <a:lnTo>
                  <a:pt x="1996" y="2274"/>
                </a:lnTo>
                <a:lnTo>
                  <a:pt x="2000" y="2267"/>
                </a:lnTo>
                <a:lnTo>
                  <a:pt x="2004" y="2261"/>
                </a:lnTo>
                <a:lnTo>
                  <a:pt x="2009" y="2255"/>
                </a:lnTo>
                <a:lnTo>
                  <a:pt x="2014" y="2250"/>
                </a:lnTo>
                <a:lnTo>
                  <a:pt x="2020" y="2246"/>
                </a:lnTo>
                <a:lnTo>
                  <a:pt x="2026" y="2242"/>
                </a:lnTo>
                <a:lnTo>
                  <a:pt x="2032" y="2239"/>
                </a:lnTo>
                <a:lnTo>
                  <a:pt x="2038" y="2237"/>
                </a:lnTo>
                <a:lnTo>
                  <a:pt x="2044" y="2235"/>
                </a:lnTo>
                <a:lnTo>
                  <a:pt x="2051" y="2233"/>
                </a:lnTo>
                <a:lnTo>
                  <a:pt x="2058" y="2232"/>
                </a:lnTo>
                <a:lnTo>
                  <a:pt x="2071" y="2231"/>
                </a:lnTo>
                <a:lnTo>
                  <a:pt x="2109" y="2231"/>
                </a:lnTo>
                <a:lnTo>
                  <a:pt x="2109" y="2296"/>
                </a:lnTo>
                <a:lnTo>
                  <a:pt x="2058" y="2296"/>
                </a:lnTo>
                <a:lnTo>
                  <a:pt x="2051" y="2296"/>
                </a:lnTo>
                <a:lnTo>
                  <a:pt x="2044" y="2298"/>
                </a:lnTo>
                <a:lnTo>
                  <a:pt x="2037" y="2299"/>
                </a:lnTo>
                <a:lnTo>
                  <a:pt x="2031" y="2302"/>
                </a:lnTo>
                <a:lnTo>
                  <a:pt x="2025" y="2306"/>
                </a:lnTo>
                <a:lnTo>
                  <a:pt x="2019" y="2310"/>
                </a:lnTo>
                <a:lnTo>
                  <a:pt x="2013" y="2315"/>
                </a:lnTo>
                <a:lnTo>
                  <a:pt x="2008" y="2321"/>
                </a:lnTo>
                <a:lnTo>
                  <a:pt x="2003" y="2327"/>
                </a:lnTo>
                <a:lnTo>
                  <a:pt x="1999" y="2334"/>
                </a:lnTo>
                <a:lnTo>
                  <a:pt x="1995" y="2342"/>
                </a:lnTo>
                <a:lnTo>
                  <a:pt x="1992" y="2351"/>
                </a:lnTo>
                <a:lnTo>
                  <a:pt x="1990" y="2361"/>
                </a:lnTo>
                <a:lnTo>
                  <a:pt x="1988" y="2371"/>
                </a:lnTo>
                <a:lnTo>
                  <a:pt x="1987" y="2383"/>
                </a:lnTo>
                <a:lnTo>
                  <a:pt x="1987" y="2395"/>
                </a:lnTo>
                <a:lnTo>
                  <a:pt x="1987" y="2553"/>
                </a:lnTo>
                <a:lnTo>
                  <a:pt x="1921" y="2553"/>
                </a:lnTo>
                <a:lnTo>
                  <a:pt x="1921" y="2231"/>
                </a:lnTo>
                <a:lnTo>
                  <a:pt x="1987" y="2231"/>
                </a:lnTo>
                <a:close/>
                <a:moveTo>
                  <a:pt x="2181" y="2093"/>
                </a:moveTo>
                <a:lnTo>
                  <a:pt x="2190" y="2094"/>
                </a:lnTo>
                <a:lnTo>
                  <a:pt x="2194" y="2095"/>
                </a:lnTo>
                <a:lnTo>
                  <a:pt x="2198" y="2097"/>
                </a:lnTo>
                <a:lnTo>
                  <a:pt x="2201" y="2098"/>
                </a:lnTo>
                <a:lnTo>
                  <a:pt x="2205" y="2101"/>
                </a:lnTo>
                <a:lnTo>
                  <a:pt x="2208" y="2103"/>
                </a:lnTo>
                <a:lnTo>
                  <a:pt x="2211" y="2106"/>
                </a:lnTo>
                <a:lnTo>
                  <a:pt x="2216" y="2112"/>
                </a:lnTo>
                <a:lnTo>
                  <a:pt x="2218" y="2115"/>
                </a:lnTo>
                <a:lnTo>
                  <a:pt x="2220" y="2119"/>
                </a:lnTo>
                <a:lnTo>
                  <a:pt x="2221" y="2123"/>
                </a:lnTo>
                <a:lnTo>
                  <a:pt x="2222" y="2127"/>
                </a:lnTo>
                <a:lnTo>
                  <a:pt x="2223" y="2132"/>
                </a:lnTo>
                <a:lnTo>
                  <a:pt x="2223" y="2136"/>
                </a:lnTo>
                <a:lnTo>
                  <a:pt x="2223" y="2141"/>
                </a:lnTo>
                <a:lnTo>
                  <a:pt x="2222" y="2145"/>
                </a:lnTo>
                <a:lnTo>
                  <a:pt x="2221" y="2149"/>
                </a:lnTo>
                <a:lnTo>
                  <a:pt x="2220" y="2153"/>
                </a:lnTo>
                <a:lnTo>
                  <a:pt x="2218" y="2157"/>
                </a:lnTo>
                <a:lnTo>
                  <a:pt x="2216" y="2160"/>
                </a:lnTo>
                <a:lnTo>
                  <a:pt x="2211" y="2167"/>
                </a:lnTo>
                <a:lnTo>
                  <a:pt x="2208" y="2169"/>
                </a:lnTo>
                <a:lnTo>
                  <a:pt x="2205" y="2172"/>
                </a:lnTo>
                <a:lnTo>
                  <a:pt x="2198" y="2176"/>
                </a:lnTo>
                <a:lnTo>
                  <a:pt x="2194" y="2177"/>
                </a:lnTo>
                <a:lnTo>
                  <a:pt x="2190" y="2178"/>
                </a:lnTo>
                <a:lnTo>
                  <a:pt x="2181" y="2179"/>
                </a:lnTo>
                <a:lnTo>
                  <a:pt x="2172" y="2178"/>
                </a:lnTo>
                <a:lnTo>
                  <a:pt x="2168" y="2177"/>
                </a:lnTo>
                <a:lnTo>
                  <a:pt x="2164" y="2176"/>
                </a:lnTo>
                <a:lnTo>
                  <a:pt x="2160" y="2174"/>
                </a:lnTo>
                <a:lnTo>
                  <a:pt x="2157" y="2172"/>
                </a:lnTo>
                <a:lnTo>
                  <a:pt x="2153" y="2169"/>
                </a:lnTo>
                <a:lnTo>
                  <a:pt x="2150" y="2167"/>
                </a:lnTo>
                <a:lnTo>
                  <a:pt x="2147" y="2164"/>
                </a:lnTo>
                <a:lnTo>
                  <a:pt x="2145" y="2160"/>
                </a:lnTo>
                <a:lnTo>
                  <a:pt x="2143" y="2157"/>
                </a:lnTo>
                <a:lnTo>
                  <a:pt x="2141" y="2153"/>
                </a:lnTo>
                <a:lnTo>
                  <a:pt x="2139" y="2149"/>
                </a:lnTo>
                <a:lnTo>
                  <a:pt x="2138" y="2145"/>
                </a:lnTo>
                <a:lnTo>
                  <a:pt x="2138" y="2141"/>
                </a:lnTo>
                <a:lnTo>
                  <a:pt x="2138" y="2136"/>
                </a:lnTo>
                <a:lnTo>
                  <a:pt x="2138" y="2132"/>
                </a:lnTo>
                <a:lnTo>
                  <a:pt x="2138" y="2129"/>
                </a:lnTo>
                <a:lnTo>
                  <a:pt x="2138" y="2127"/>
                </a:lnTo>
                <a:lnTo>
                  <a:pt x="2139" y="2123"/>
                </a:lnTo>
                <a:lnTo>
                  <a:pt x="2141" y="2119"/>
                </a:lnTo>
                <a:lnTo>
                  <a:pt x="2143" y="2115"/>
                </a:lnTo>
                <a:lnTo>
                  <a:pt x="2145" y="2112"/>
                </a:lnTo>
                <a:lnTo>
                  <a:pt x="2147" y="2109"/>
                </a:lnTo>
                <a:lnTo>
                  <a:pt x="2150" y="2106"/>
                </a:lnTo>
                <a:lnTo>
                  <a:pt x="2153" y="2103"/>
                </a:lnTo>
                <a:lnTo>
                  <a:pt x="2157" y="2101"/>
                </a:lnTo>
                <a:lnTo>
                  <a:pt x="2164" y="2097"/>
                </a:lnTo>
                <a:lnTo>
                  <a:pt x="2168" y="2095"/>
                </a:lnTo>
                <a:lnTo>
                  <a:pt x="2172" y="2094"/>
                </a:lnTo>
                <a:lnTo>
                  <a:pt x="2181" y="2093"/>
                </a:lnTo>
                <a:close/>
                <a:moveTo>
                  <a:pt x="2213" y="2231"/>
                </a:moveTo>
                <a:lnTo>
                  <a:pt x="2213" y="2553"/>
                </a:lnTo>
                <a:lnTo>
                  <a:pt x="2148" y="2553"/>
                </a:lnTo>
                <a:lnTo>
                  <a:pt x="2148" y="2231"/>
                </a:lnTo>
                <a:lnTo>
                  <a:pt x="2213" y="2231"/>
                </a:lnTo>
                <a:close/>
                <a:moveTo>
                  <a:pt x="2354" y="2231"/>
                </a:moveTo>
                <a:lnTo>
                  <a:pt x="2354" y="2275"/>
                </a:lnTo>
                <a:lnTo>
                  <a:pt x="2358" y="2270"/>
                </a:lnTo>
                <a:lnTo>
                  <a:pt x="2361" y="2265"/>
                </a:lnTo>
                <a:lnTo>
                  <a:pt x="2366" y="2260"/>
                </a:lnTo>
                <a:lnTo>
                  <a:pt x="2370" y="2255"/>
                </a:lnTo>
                <a:lnTo>
                  <a:pt x="2381" y="2247"/>
                </a:lnTo>
                <a:lnTo>
                  <a:pt x="2386" y="2243"/>
                </a:lnTo>
                <a:lnTo>
                  <a:pt x="2392" y="2239"/>
                </a:lnTo>
                <a:lnTo>
                  <a:pt x="2399" y="2236"/>
                </a:lnTo>
                <a:lnTo>
                  <a:pt x="2405" y="2234"/>
                </a:lnTo>
                <a:lnTo>
                  <a:pt x="2412" y="2231"/>
                </a:lnTo>
                <a:lnTo>
                  <a:pt x="2419" y="2229"/>
                </a:lnTo>
                <a:lnTo>
                  <a:pt x="2427" y="2228"/>
                </a:lnTo>
                <a:lnTo>
                  <a:pt x="2434" y="2227"/>
                </a:lnTo>
                <a:lnTo>
                  <a:pt x="2442" y="2226"/>
                </a:lnTo>
                <a:lnTo>
                  <a:pt x="2449" y="2226"/>
                </a:lnTo>
                <a:lnTo>
                  <a:pt x="2462" y="2226"/>
                </a:lnTo>
                <a:lnTo>
                  <a:pt x="2474" y="2228"/>
                </a:lnTo>
                <a:lnTo>
                  <a:pt x="2485" y="2231"/>
                </a:lnTo>
                <a:lnTo>
                  <a:pt x="2496" y="2235"/>
                </a:lnTo>
                <a:lnTo>
                  <a:pt x="2507" y="2240"/>
                </a:lnTo>
                <a:lnTo>
                  <a:pt x="2512" y="2243"/>
                </a:lnTo>
                <a:lnTo>
                  <a:pt x="2517" y="2246"/>
                </a:lnTo>
                <a:lnTo>
                  <a:pt x="2526" y="2253"/>
                </a:lnTo>
                <a:lnTo>
                  <a:pt x="2535" y="2261"/>
                </a:lnTo>
                <a:lnTo>
                  <a:pt x="2538" y="2266"/>
                </a:lnTo>
                <a:lnTo>
                  <a:pt x="2542" y="2270"/>
                </a:lnTo>
                <a:lnTo>
                  <a:pt x="2546" y="2275"/>
                </a:lnTo>
                <a:lnTo>
                  <a:pt x="2549" y="2280"/>
                </a:lnTo>
                <a:lnTo>
                  <a:pt x="2552" y="2285"/>
                </a:lnTo>
                <a:lnTo>
                  <a:pt x="2555" y="2291"/>
                </a:lnTo>
                <a:lnTo>
                  <a:pt x="2560" y="2303"/>
                </a:lnTo>
                <a:lnTo>
                  <a:pt x="2564" y="2315"/>
                </a:lnTo>
                <a:lnTo>
                  <a:pt x="2566" y="2322"/>
                </a:lnTo>
                <a:lnTo>
                  <a:pt x="2567" y="2329"/>
                </a:lnTo>
                <a:lnTo>
                  <a:pt x="2568" y="2336"/>
                </a:lnTo>
                <a:lnTo>
                  <a:pt x="2569" y="2343"/>
                </a:lnTo>
                <a:lnTo>
                  <a:pt x="2569" y="2350"/>
                </a:lnTo>
                <a:lnTo>
                  <a:pt x="2569" y="2358"/>
                </a:lnTo>
                <a:lnTo>
                  <a:pt x="2569" y="2553"/>
                </a:lnTo>
                <a:lnTo>
                  <a:pt x="2504" y="2553"/>
                </a:lnTo>
                <a:lnTo>
                  <a:pt x="2504" y="2371"/>
                </a:lnTo>
                <a:lnTo>
                  <a:pt x="2504" y="2361"/>
                </a:lnTo>
                <a:lnTo>
                  <a:pt x="2503" y="2352"/>
                </a:lnTo>
                <a:lnTo>
                  <a:pt x="2501" y="2343"/>
                </a:lnTo>
                <a:lnTo>
                  <a:pt x="2500" y="2339"/>
                </a:lnTo>
                <a:lnTo>
                  <a:pt x="2499" y="2335"/>
                </a:lnTo>
                <a:lnTo>
                  <a:pt x="2496" y="2327"/>
                </a:lnTo>
                <a:lnTo>
                  <a:pt x="2493" y="2321"/>
                </a:lnTo>
                <a:lnTo>
                  <a:pt x="2489" y="2314"/>
                </a:lnTo>
                <a:lnTo>
                  <a:pt x="2487" y="2311"/>
                </a:lnTo>
                <a:lnTo>
                  <a:pt x="2485" y="2309"/>
                </a:lnTo>
                <a:lnTo>
                  <a:pt x="2480" y="2303"/>
                </a:lnTo>
                <a:lnTo>
                  <a:pt x="2474" y="2299"/>
                </a:lnTo>
                <a:lnTo>
                  <a:pt x="2468" y="2295"/>
                </a:lnTo>
                <a:lnTo>
                  <a:pt x="2461" y="2292"/>
                </a:lnTo>
                <a:lnTo>
                  <a:pt x="2454" y="2290"/>
                </a:lnTo>
                <a:lnTo>
                  <a:pt x="2447" y="2288"/>
                </a:lnTo>
                <a:lnTo>
                  <a:pt x="2439" y="2287"/>
                </a:lnTo>
                <a:lnTo>
                  <a:pt x="2430" y="2286"/>
                </a:lnTo>
                <a:lnTo>
                  <a:pt x="2421" y="2287"/>
                </a:lnTo>
                <a:lnTo>
                  <a:pt x="2413" y="2288"/>
                </a:lnTo>
                <a:lnTo>
                  <a:pt x="2406" y="2290"/>
                </a:lnTo>
                <a:lnTo>
                  <a:pt x="2398" y="2292"/>
                </a:lnTo>
                <a:lnTo>
                  <a:pt x="2392" y="2296"/>
                </a:lnTo>
                <a:lnTo>
                  <a:pt x="2385" y="2299"/>
                </a:lnTo>
                <a:lnTo>
                  <a:pt x="2380" y="2304"/>
                </a:lnTo>
                <a:lnTo>
                  <a:pt x="2374" y="2309"/>
                </a:lnTo>
                <a:lnTo>
                  <a:pt x="2372" y="2312"/>
                </a:lnTo>
                <a:lnTo>
                  <a:pt x="2370" y="2315"/>
                </a:lnTo>
                <a:lnTo>
                  <a:pt x="2366" y="2322"/>
                </a:lnTo>
                <a:lnTo>
                  <a:pt x="2362" y="2329"/>
                </a:lnTo>
                <a:lnTo>
                  <a:pt x="2360" y="2336"/>
                </a:lnTo>
                <a:lnTo>
                  <a:pt x="2357" y="2344"/>
                </a:lnTo>
                <a:lnTo>
                  <a:pt x="2356" y="2349"/>
                </a:lnTo>
                <a:lnTo>
                  <a:pt x="2356" y="2353"/>
                </a:lnTo>
                <a:lnTo>
                  <a:pt x="2355" y="2362"/>
                </a:lnTo>
                <a:lnTo>
                  <a:pt x="2354" y="2372"/>
                </a:lnTo>
                <a:lnTo>
                  <a:pt x="2354" y="2553"/>
                </a:lnTo>
                <a:lnTo>
                  <a:pt x="2289" y="2553"/>
                </a:lnTo>
                <a:lnTo>
                  <a:pt x="2289" y="2231"/>
                </a:lnTo>
                <a:lnTo>
                  <a:pt x="2354" y="2231"/>
                </a:lnTo>
                <a:close/>
                <a:moveTo>
                  <a:pt x="2764" y="2226"/>
                </a:moveTo>
                <a:lnTo>
                  <a:pt x="2772" y="2226"/>
                </a:lnTo>
                <a:lnTo>
                  <a:pt x="2780" y="2227"/>
                </a:lnTo>
                <a:lnTo>
                  <a:pt x="2788" y="2228"/>
                </a:lnTo>
                <a:lnTo>
                  <a:pt x="2796" y="2230"/>
                </a:lnTo>
                <a:lnTo>
                  <a:pt x="2803" y="2232"/>
                </a:lnTo>
                <a:lnTo>
                  <a:pt x="2810" y="2234"/>
                </a:lnTo>
                <a:lnTo>
                  <a:pt x="2818" y="2237"/>
                </a:lnTo>
                <a:lnTo>
                  <a:pt x="2824" y="2240"/>
                </a:lnTo>
                <a:lnTo>
                  <a:pt x="2831" y="2244"/>
                </a:lnTo>
                <a:lnTo>
                  <a:pt x="2837" y="2248"/>
                </a:lnTo>
                <a:lnTo>
                  <a:pt x="2843" y="2252"/>
                </a:lnTo>
                <a:lnTo>
                  <a:pt x="2848" y="2257"/>
                </a:lnTo>
                <a:lnTo>
                  <a:pt x="2853" y="2261"/>
                </a:lnTo>
                <a:lnTo>
                  <a:pt x="2858" y="2266"/>
                </a:lnTo>
                <a:lnTo>
                  <a:pt x="2861" y="2272"/>
                </a:lnTo>
                <a:lnTo>
                  <a:pt x="2865" y="2277"/>
                </a:lnTo>
                <a:lnTo>
                  <a:pt x="2865" y="2231"/>
                </a:lnTo>
                <a:lnTo>
                  <a:pt x="2930" y="2231"/>
                </a:lnTo>
                <a:lnTo>
                  <a:pt x="2930" y="2529"/>
                </a:lnTo>
                <a:lnTo>
                  <a:pt x="2930" y="2538"/>
                </a:lnTo>
                <a:lnTo>
                  <a:pt x="2930" y="2546"/>
                </a:lnTo>
                <a:lnTo>
                  <a:pt x="2929" y="2554"/>
                </a:lnTo>
                <a:lnTo>
                  <a:pt x="2927" y="2562"/>
                </a:lnTo>
                <a:lnTo>
                  <a:pt x="2926" y="2570"/>
                </a:lnTo>
                <a:lnTo>
                  <a:pt x="2924" y="2578"/>
                </a:lnTo>
                <a:lnTo>
                  <a:pt x="2919" y="2592"/>
                </a:lnTo>
                <a:lnTo>
                  <a:pt x="2916" y="2599"/>
                </a:lnTo>
                <a:lnTo>
                  <a:pt x="2912" y="2606"/>
                </a:lnTo>
                <a:lnTo>
                  <a:pt x="2908" y="2612"/>
                </a:lnTo>
                <a:lnTo>
                  <a:pt x="2904" y="2618"/>
                </a:lnTo>
                <a:lnTo>
                  <a:pt x="2900" y="2624"/>
                </a:lnTo>
                <a:lnTo>
                  <a:pt x="2896" y="2630"/>
                </a:lnTo>
                <a:lnTo>
                  <a:pt x="2891" y="2635"/>
                </a:lnTo>
                <a:lnTo>
                  <a:pt x="2885" y="2640"/>
                </a:lnTo>
                <a:lnTo>
                  <a:pt x="2880" y="2645"/>
                </a:lnTo>
                <a:lnTo>
                  <a:pt x="2874" y="2650"/>
                </a:lnTo>
                <a:lnTo>
                  <a:pt x="2868" y="2654"/>
                </a:lnTo>
                <a:lnTo>
                  <a:pt x="2862" y="2658"/>
                </a:lnTo>
                <a:lnTo>
                  <a:pt x="2848" y="2665"/>
                </a:lnTo>
                <a:lnTo>
                  <a:pt x="2841" y="2668"/>
                </a:lnTo>
                <a:lnTo>
                  <a:pt x="2834" y="2671"/>
                </a:lnTo>
                <a:lnTo>
                  <a:pt x="2819" y="2676"/>
                </a:lnTo>
                <a:lnTo>
                  <a:pt x="2803" y="2679"/>
                </a:lnTo>
                <a:lnTo>
                  <a:pt x="2794" y="2681"/>
                </a:lnTo>
                <a:lnTo>
                  <a:pt x="2785" y="2681"/>
                </a:lnTo>
                <a:lnTo>
                  <a:pt x="2768" y="2682"/>
                </a:lnTo>
                <a:lnTo>
                  <a:pt x="2757" y="2682"/>
                </a:lnTo>
                <a:lnTo>
                  <a:pt x="2746" y="2681"/>
                </a:lnTo>
                <a:lnTo>
                  <a:pt x="2736" y="2680"/>
                </a:lnTo>
                <a:lnTo>
                  <a:pt x="2726" y="2679"/>
                </a:lnTo>
                <a:lnTo>
                  <a:pt x="2716" y="2677"/>
                </a:lnTo>
                <a:lnTo>
                  <a:pt x="2707" y="2674"/>
                </a:lnTo>
                <a:lnTo>
                  <a:pt x="2697" y="2672"/>
                </a:lnTo>
                <a:lnTo>
                  <a:pt x="2688" y="2668"/>
                </a:lnTo>
                <a:lnTo>
                  <a:pt x="2680" y="2665"/>
                </a:lnTo>
                <a:lnTo>
                  <a:pt x="2671" y="2661"/>
                </a:lnTo>
                <a:lnTo>
                  <a:pt x="2663" y="2657"/>
                </a:lnTo>
                <a:lnTo>
                  <a:pt x="2656" y="2652"/>
                </a:lnTo>
                <a:lnTo>
                  <a:pt x="2648" y="2647"/>
                </a:lnTo>
                <a:lnTo>
                  <a:pt x="2640" y="2641"/>
                </a:lnTo>
                <a:lnTo>
                  <a:pt x="2634" y="2636"/>
                </a:lnTo>
                <a:lnTo>
                  <a:pt x="2627" y="2630"/>
                </a:lnTo>
                <a:lnTo>
                  <a:pt x="2659" y="2577"/>
                </a:lnTo>
                <a:lnTo>
                  <a:pt x="2669" y="2586"/>
                </a:lnTo>
                <a:lnTo>
                  <a:pt x="2681" y="2595"/>
                </a:lnTo>
                <a:lnTo>
                  <a:pt x="2693" y="2603"/>
                </a:lnTo>
                <a:lnTo>
                  <a:pt x="2700" y="2607"/>
                </a:lnTo>
                <a:lnTo>
                  <a:pt x="2707" y="2610"/>
                </a:lnTo>
                <a:lnTo>
                  <a:pt x="2714" y="2613"/>
                </a:lnTo>
                <a:lnTo>
                  <a:pt x="2721" y="2616"/>
                </a:lnTo>
                <a:lnTo>
                  <a:pt x="2729" y="2618"/>
                </a:lnTo>
                <a:lnTo>
                  <a:pt x="2736" y="2620"/>
                </a:lnTo>
                <a:lnTo>
                  <a:pt x="2744" y="2622"/>
                </a:lnTo>
                <a:lnTo>
                  <a:pt x="2752" y="2623"/>
                </a:lnTo>
                <a:lnTo>
                  <a:pt x="2760" y="2623"/>
                </a:lnTo>
                <a:lnTo>
                  <a:pt x="2768" y="2624"/>
                </a:lnTo>
                <a:lnTo>
                  <a:pt x="2778" y="2623"/>
                </a:lnTo>
                <a:lnTo>
                  <a:pt x="2788" y="2622"/>
                </a:lnTo>
                <a:lnTo>
                  <a:pt x="2798" y="2620"/>
                </a:lnTo>
                <a:lnTo>
                  <a:pt x="2807" y="2617"/>
                </a:lnTo>
                <a:lnTo>
                  <a:pt x="2816" y="2614"/>
                </a:lnTo>
                <a:lnTo>
                  <a:pt x="2824" y="2610"/>
                </a:lnTo>
                <a:lnTo>
                  <a:pt x="2832" y="2605"/>
                </a:lnTo>
                <a:lnTo>
                  <a:pt x="2835" y="2602"/>
                </a:lnTo>
                <a:lnTo>
                  <a:pt x="2838" y="2599"/>
                </a:lnTo>
                <a:lnTo>
                  <a:pt x="2841" y="2596"/>
                </a:lnTo>
                <a:lnTo>
                  <a:pt x="2844" y="2593"/>
                </a:lnTo>
                <a:lnTo>
                  <a:pt x="2850" y="2586"/>
                </a:lnTo>
                <a:lnTo>
                  <a:pt x="2854" y="2578"/>
                </a:lnTo>
                <a:lnTo>
                  <a:pt x="2858" y="2570"/>
                </a:lnTo>
                <a:lnTo>
                  <a:pt x="2860" y="2566"/>
                </a:lnTo>
                <a:lnTo>
                  <a:pt x="2861" y="2561"/>
                </a:lnTo>
                <a:lnTo>
                  <a:pt x="2863" y="2556"/>
                </a:lnTo>
                <a:lnTo>
                  <a:pt x="2864" y="2551"/>
                </a:lnTo>
                <a:lnTo>
                  <a:pt x="2865" y="2541"/>
                </a:lnTo>
                <a:lnTo>
                  <a:pt x="2866" y="2530"/>
                </a:lnTo>
                <a:lnTo>
                  <a:pt x="2866" y="2497"/>
                </a:lnTo>
                <a:lnTo>
                  <a:pt x="2862" y="2502"/>
                </a:lnTo>
                <a:lnTo>
                  <a:pt x="2858" y="2508"/>
                </a:lnTo>
                <a:lnTo>
                  <a:pt x="2854" y="2513"/>
                </a:lnTo>
                <a:lnTo>
                  <a:pt x="2849" y="2518"/>
                </a:lnTo>
                <a:lnTo>
                  <a:pt x="2843" y="2522"/>
                </a:lnTo>
                <a:lnTo>
                  <a:pt x="2838" y="2526"/>
                </a:lnTo>
                <a:lnTo>
                  <a:pt x="2831" y="2530"/>
                </a:lnTo>
                <a:lnTo>
                  <a:pt x="2825" y="2534"/>
                </a:lnTo>
                <a:lnTo>
                  <a:pt x="2818" y="2537"/>
                </a:lnTo>
                <a:lnTo>
                  <a:pt x="2811" y="2540"/>
                </a:lnTo>
                <a:lnTo>
                  <a:pt x="2804" y="2543"/>
                </a:lnTo>
                <a:lnTo>
                  <a:pt x="2796" y="2545"/>
                </a:lnTo>
                <a:lnTo>
                  <a:pt x="2788" y="2547"/>
                </a:lnTo>
                <a:lnTo>
                  <a:pt x="2780" y="2548"/>
                </a:lnTo>
                <a:lnTo>
                  <a:pt x="2772" y="2549"/>
                </a:lnTo>
                <a:lnTo>
                  <a:pt x="2764" y="2549"/>
                </a:lnTo>
                <a:lnTo>
                  <a:pt x="2749" y="2548"/>
                </a:lnTo>
                <a:lnTo>
                  <a:pt x="2742" y="2547"/>
                </a:lnTo>
                <a:lnTo>
                  <a:pt x="2734" y="2546"/>
                </a:lnTo>
                <a:lnTo>
                  <a:pt x="2727" y="2544"/>
                </a:lnTo>
                <a:lnTo>
                  <a:pt x="2720" y="2542"/>
                </a:lnTo>
                <a:lnTo>
                  <a:pt x="2714" y="2540"/>
                </a:lnTo>
                <a:lnTo>
                  <a:pt x="2707" y="2537"/>
                </a:lnTo>
                <a:lnTo>
                  <a:pt x="2694" y="2531"/>
                </a:lnTo>
                <a:lnTo>
                  <a:pt x="2683" y="2523"/>
                </a:lnTo>
                <a:lnTo>
                  <a:pt x="2677" y="2518"/>
                </a:lnTo>
                <a:lnTo>
                  <a:pt x="2672" y="2514"/>
                </a:lnTo>
                <a:lnTo>
                  <a:pt x="2661" y="2503"/>
                </a:lnTo>
                <a:lnTo>
                  <a:pt x="2657" y="2498"/>
                </a:lnTo>
                <a:lnTo>
                  <a:pt x="2652" y="2492"/>
                </a:lnTo>
                <a:lnTo>
                  <a:pt x="2643" y="2480"/>
                </a:lnTo>
                <a:lnTo>
                  <a:pt x="2639" y="2473"/>
                </a:lnTo>
                <a:lnTo>
                  <a:pt x="2636" y="2466"/>
                </a:lnTo>
                <a:lnTo>
                  <a:pt x="2633" y="2459"/>
                </a:lnTo>
                <a:lnTo>
                  <a:pt x="2630" y="2452"/>
                </a:lnTo>
                <a:lnTo>
                  <a:pt x="2625" y="2437"/>
                </a:lnTo>
                <a:lnTo>
                  <a:pt x="2622" y="2422"/>
                </a:lnTo>
                <a:lnTo>
                  <a:pt x="2621" y="2414"/>
                </a:lnTo>
                <a:lnTo>
                  <a:pt x="2620" y="2405"/>
                </a:lnTo>
                <a:lnTo>
                  <a:pt x="2619" y="2397"/>
                </a:lnTo>
                <a:lnTo>
                  <a:pt x="2619" y="2388"/>
                </a:lnTo>
                <a:lnTo>
                  <a:pt x="2619" y="2380"/>
                </a:lnTo>
                <a:lnTo>
                  <a:pt x="2620" y="2371"/>
                </a:lnTo>
                <a:lnTo>
                  <a:pt x="2622" y="2355"/>
                </a:lnTo>
                <a:lnTo>
                  <a:pt x="2624" y="2347"/>
                </a:lnTo>
                <a:lnTo>
                  <a:pt x="2625" y="2339"/>
                </a:lnTo>
                <a:lnTo>
                  <a:pt x="2628" y="2331"/>
                </a:lnTo>
                <a:lnTo>
                  <a:pt x="2630" y="2324"/>
                </a:lnTo>
                <a:lnTo>
                  <a:pt x="2633" y="2317"/>
                </a:lnTo>
                <a:lnTo>
                  <a:pt x="2636" y="2310"/>
                </a:lnTo>
                <a:lnTo>
                  <a:pt x="2643" y="2296"/>
                </a:lnTo>
                <a:lnTo>
                  <a:pt x="2648" y="2290"/>
                </a:lnTo>
                <a:lnTo>
                  <a:pt x="2652" y="2284"/>
                </a:lnTo>
                <a:lnTo>
                  <a:pt x="2662" y="2272"/>
                </a:lnTo>
                <a:lnTo>
                  <a:pt x="2667" y="2267"/>
                </a:lnTo>
                <a:lnTo>
                  <a:pt x="2672" y="2262"/>
                </a:lnTo>
                <a:lnTo>
                  <a:pt x="2683" y="2253"/>
                </a:lnTo>
                <a:lnTo>
                  <a:pt x="2695" y="2245"/>
                </a:lnTo>
                <a:lnTo>
                  <a:pt x="2701" y="2241"/>
                </a:lnTo>
                <a:lnTo>
                  <a:pt x="2707" y="2238"/>
                </a:lnTo>
                <a:lnTo>
                  <a:pt x="2714" y="2235"/>
                </a:lnTo>
                <a:lnTo>
                  <a:pt x="2721" y="2233"/>
                </a:lnTo>
                <a:lnTo>
                  <a:pt x="2735" y="2229"/>
                </a:lnTo>
                <a:lnTo>
                  <a:pt x="2749" y="2227"/>
                </a:lnTo>
                <a:lnTo>
                  <a:pt x="2764" y="2226"/>
                </a:lnTo>
                <a:close/>
                <a:moveTo>
                  <a:pt x="2778" y="2490"/>
                </a:moveTo>
                <a:lnTo>
                  <a:pt x="2788" y="2490"/>
                </a:lnTo>
                <a:lnTo>
                  <a:pt x="2793" y="2489"/>
                </a:lnTo>
                <a:lnTo>
                  <a:pt x="2797" y="2488"/>
                </a:lnTo>
                <a:lnTo>
                  <a:pt x="2806" y="2486"/>
                </a:lnTo>
                <a:lnTo>
                  <a:pt x="2815" y="2483"/>
                </a:lnTo>
                <a:lnTo>
                  <a:pt x="2823" y="2479"/>
                </a:lnTo>
                <a:lnTo>
                  <a:pt x="2831" y="2474"/>
                </a:lnTo>
                <a:lnTo>
                  <a:pt x="2838" y="2468"/>
                </a:lnTo>
                <a:lnTo>
                  <a:pt x="2844" y="2461"/>
                </a:lnTo>
                <a:lnTo>
                  <a:pt x="2850" y="2454"/>
                </a:lnTo>
                <a:lnTo>
                  <a:pt x="2855" y="2446"/>
                </a:lnTo>
                <a:lnTo>
                  <a:pt x="2859" y="2438"/>
                </a:lnTo>
                <a:lnTo>
                  <a:pt x="2863" y="2429"/>
                </a:lnTo>
                <a:lnTo>
                  <a:pt x="2866" y="2420"/>
                </a:lnTo>
                <a:lnTo>
                  <a:pt x="2868" y="2410"/>
                </a:lnTo>
                <a:lnTo>
                  <a:pt x="2869" y="2399"/>
                </a:lnTo>
                <a:lnTo>
                  <a:pt x="2870" y="2388"/>
                </a:lnTo>
                <a:lnTo>
                  <a:pt x="2869" y="2378"/>
                </a:lnTo>
                <a:lnTo>
                  <a:pt x="2868" y="2367"/>
                </a:lnTo>
                <a:lnTo>
                  <a:pt x="2866" y="2357"/>
                </a:lnTo>
                <a:lnTo>
                  <a:pt x="2864" y="2352"/>
                </a:lnTo>
                <a:lnTo>
                  <a:pt x="2863" y="2347"/>
                </a:lnTo>
                <a:lnTo>
                  <a:pt x="2859" y="2338"/>
                </a:lnTo>
                <a:lnTo>
                  <a:pt x="2857" y="2334"/>
                </a:lnTo>
                <a:lnTo>
                  <a:pt x="2855" y="2330"/>
                </a:lnTo>
                <a:lnTo>
                  <a:pt x="2850" y="2322"/>
                </a:lnTo>
                <a:lnTo>
                  <a:pt x="2844" y="2315"/>
                </a:lnTo>
                <a:lnTo>
                  <a:pt x="2838" y="2309"/>
                </a:lnTo>
                <a:lnTo>
                  <a:pt x="2831" y="2303"/>
                </a:lnTo>
                <a:lnTo>
                  <a:pt x="2823" y="2298"/>
                </a:lnTo>
                <a:lnTo>
                  <a:pt x="2819" y="2296"/>
                </a:lnTo>
                <a:lnTo>
                  <a:pt x="2815" y="2294"/>
                </a:lnTo>
                <a:lnTo>
                  <a:pt x="2806" y="2291"/>
                </a:lnTo>
                <a:lnTo>
                  <a:pt x="2797" y="2288"/>
                </a:lnTo>
                <a:lnTo>
                  <a:pt x="2793" y="2288"/>
                </a:lnTo>
                <a:lnTo>
                  <a:pt x="2788" y="2287"/>
                </a:lnTo>
                <a:lnTo>
                  <a:pt x="2778" y="2286"/>
                </a:lnTo>
                <a:lnTo>
                  <a:pt x="2768" y="2287"/>
                </a:lnTo>
                <a:lnTo>
                  <a:pt x="2763" y="2288"/>
                </a:lnTo>
                <a:lnTo>
                  <a:pt x="2759" y="2288"/>
                </a:lnTo>
                <a:lnTo>
                  <a:pt x="2749" y="2291"/>
                </a:lnTo>
                <a:lnTo>
                  <a:pt x="2741" y="2294"/>
                </a:lnTo>
                <a:lnTo>
                  <a:pt x="2733" y="2298"/>
                </a:lnTo>
                <a:lnTo>
                  <a:pt x="2725" y="2303"/>
                </a:lnTo>
                <a:lnTo>
                  <a:pt x="2718" y="2309"/>
                </a:lnTo>
                <a:lnTo>
                  <a:pt x="2712" y="2315"/>
                </a:lnTo>
                <a:lnTo>
                  <a:pt x="2706" y="2322"/>
                </a:lnTo>
                <a:lnTo>
                  <a:pt x="2701" y="2330"/>
                </a:lnTo>
                <a:lnTo>
                  <a:pt x="2696" y="2338"/>
                </a:lnTo>
                <a:lnTo>
                  <a:pt x="2692" y="2347"/>
                </a:lnTo>
                <a:lnTo>
                  <a:pt x="2690" y="2357"/>
                </a:lnTo>
                <a:lnTo>
                  <a:pt x="2687" y="2367"/>
                </a:lnTo>
                <a:lnTo>
                  <a:pt x="2686" y="2378"/>
                </a:lnTo>
                <a:lnTo>
                  <a:pt x="2686" y="2388"/>
                </a:lnTo>
                <a:lnTo>
                  <a:pt x="2686" y="2399"/>
                </a:lnTo>
                <a:lnTo>
                  <a:pt x="2687" y="2410"/>
                </a:lnTo>
                <a:lnTo>
                  <a:pt x="2688" y="2415"/>
                </a:lnTo>
                <a:lnTo>
                  <a:pt x="2690" y="2420"/>
                </a:lnTo>
                <a:lnTo>
                  <a:pt x="2691" y="2424"/>
                </a:lnTo>
                <a:lnTo>
                  <a:pt x="2692" y="2429"/>
                </a:lnTo>
                <a:lnTo>
                  <a:pt x="2696" y="2438"/>
                </a:lnTo>
                <a:lnTo>
                  <a:pt x="2698" y="2442"/>
                </a:lnTo>
                <a:lnTo>
                  <a:pt x="2701" y="2446"/>
                </a:lnTo>
                <a:lnTo>
                  <a:pt x="2703" y="2450"/>
                </a:lnTo>
                <a:lnTo>
                  <a:pt x="2706" y="2454"/>
                </a:lnTo>
                <a:lnTo>
                  <a:pt x="2712" y="2461"/>
                </a:lnTo>
                <a:lnTo>
                  <a:pt x="2718" y="2468"/>
                </a:lnTo>
                <a:lnTo>
                  <a:pt x="2725" y="2474"/>
                </a:lnTo>
                <a:lnTo>
                  <a:pt x="2733" y="2479"/>
                </a:lnTo>
                <a:lnTo>
                  <a:pt x="2741" y="2483"/>
                </a:lnTo>
                <a:lnTo>
                  <a:pt x="2749" y="2486"/>
                </a:lnTo>
                <a:lnTo>
                  <a:pt x="2759" y="2488"/>
                </a:lnTo>
                <a:lnTo>
                  <a:pt x="2763" y="2489"/>
                </a:lnTo>
                <a:lnTo>
                  <a:pt x="2768" y="2490"/>
                </a:lnTo>
                <a:lnTo>
                  <a:pt x="2778" y="2490"/>
                </a:lnTo>
                <a:close/>
                <a:moveTo>
                  <a:pt x="3253" y="2360"/>
                </a:moveTo>
                <a:lnTo>
                  <a:pt x="3322" y="2360"/>
                </a:lnTo>
                <a:lnTo>
                  <a:pt x="3322" y="2348"/>
                </a:lnTo>
                <a:lnTo>
                  <a:pt x="3322" y="2340"/>
                </a:lnTo>
                <a:lnTo>
                  <a:pt x="3321" y="2333"/>
                </a:lnTo>
                <a:lnTo>
                  <a:pt x="3319" y="2326"/>
                </a:lnTo>
                <a:lnTo>
                  <a:pt x="3316" y="2319"/>
                </a:lnTo>
                <a:lnTo>
                  <a:pt x="3313" y="2313"/>
                </a:lnTo>
                <a:lnTo>
                  <a:pt x="3309" y="2308"/>
                </a:lnTo>
                <a:lnTo>
                  <a:pt x="3305" y="2303"/>
                </a:lnTo>
                <a:lnTo>
                  <a:pt x="3300" y="2299"/>
                </a:lnTo>
                <a:lnTo>
                  <a:pt x="3295" y="2296"/>
                </a:lnTo>
                <a:lnTo>
                  <a:pt x="3289" y="2293"/>
                </a:lnTo>
                <a:lnTo>
                  <a:pt x="3283" y="2290"/>
                </a:lnTo>
                <a:lnTo>
                  <a:pt x="3276" y="2288"/>
                </a:lnTo>
                <a:lnTo>
                  <a:pt x="3273" y="2287"/>
                </a:lnTo>
                <a:lnTo>
                  <a:pt x="3269" y="2286"/>
                </a:lnTo>
                <a:lnTo>
                  <a:pt x="3262" y="2285"/>
                </a:lnTo>
                <a:lnTo>
                  <a:pt x="3254" y="2285"/>
                </a:lnTo>
                <a:lnTo>
                  <a:pt x="3246" y="2284"/>
                </a:lnTo>
                <a:lnTo>
                  <a:pt x="3233" y="2285"/>
                </a:lnTo>
                <a:lnTo>
                  <a:pt x="3226" y="2286"/>
                </a:lnTo>
                <a:lnTo>
                  <a:pt x="3220" y="2287"/>
                </a:lnTo>
                <a:lnTo>
                  <a:pt x="3207" y="2290"/>
                </a:lnTo>
                <a:lnTo>
                  <a:pt x="3201" y="2292"/>
                </a:lnTo>
                <a:lnTo>
                  <a:pt x="3194" y="2295"/>
                </a:lnTo>
                <a:lnTo>
                  <a:pt x="3182" y="2301"/>
                </a:lnTo>
                <a:lnTo>
                  <a:pt x="3171" y="2308"/>
                </a:lnTo>
                <a:lnTo>
                  <a:pt x="3165" y="2312"/>
                </a:lnTo>
                <a:lnTo>
                  <a:pt x="3160" y="2316"/>
                </a:lnTo>
                <a:lnTo>
                  <a:pt x="3150" y="2326"/>
                </a:lnTo>
                <a:lnTo>
                  <a:pt x="3120" y="2274"/>
                </a:lnTo>
                <a:lnTo>
                  <a:pt x="3126" y="2268"/>
                </a:lnTo>
                <a:lnTo>
                  <a:pt x="3132" y="2263"/>
                </a:lnTo>
                <a:lnTo>
                  <a:pt x="3139" y="2258"/>
                </a:lnTo>
                <a:lnTo>
                  <a:pt x="3146" y="2253"/>
                </a:lnTo>
                <a:lnTo>
                  <a:pt x="3154" y="2249"/>
                </a:lnTo>
                <a:lnTo>
                  <a:pt x="3161" y="2245"/>
                </a:lnTo>
                <a:lnTo>
                  <a:pt x="3169" y="2241"/>
                </a:lnTo>
                <a:lnTo>
                  <a:pt x="3177" y="2238"/>
                </a:lnTo>
                <a:lnTo>
                  <a:pt x="3194" y="2233"/>
                </a:lnTo>
                <a:lnTo>
                  <a:pt x="3211" y="2229"/>
                </a:lnTo>
                <a:lnTo>
                  <a:pt x="3229" y="2227"/>
                </a:lnTo>
                <a:lnTo>
                  <a:pt x="3247" y="2226"/>
                </a:lnTo>
                <a:lnTo>
                  <a:pt x="3262" y="2226"/>
                </a:lnTo>
                <a:lnTo>
                  <a:pt x="3270" y="2227"/>
                </a:lnTo>
                <a:lnTo>
                  <a:pt x="3277" y="2228"/>
                </a:lnTo>
                <a:lnTo>
                  <a:pt x="3290" y="2230"/>
                </a:lnTo>
                <a:lnTo>
                  <a:pt x="3303" y="2234"/>
                </a:lnTo>
                <a:lnTo>
                  <a:pt x="3309" y="2236"/>
                </a:lnTo>
                <a:lnTo>
                  <a:pt x="3315" y="2238"/>
                </a:lnTo>
                <a:lnTo>
                  <a:pt x="3326" y="2244"/>
                </a:lnTo>
                <a:lnTo>
                  <a:pt x="3331" y="2247"/>
                </a:lnTo>
                <a:lnTo>
                  <a:pt x="3336" y="2250"/>
                </a:lnTo>
                <a:lnTo>
                  <a:pt x="3346" y="2258"/>
                </a:lnTo>
                <a:lnTo>
                  <a:pt x="3350" y="2262"/>
                </a:lnTo>
                <a:lnTo>
                  <a:pt x="3354" y="2266"/>
                </a:lnTo>
                <a:lnTo>
                  <a:pt x="3361" y="2275"/>
                </a:lnTo>
                <a:lnTo>
                  <a:pt x="3368" y="2285"/>
                </a:lnTo>
                <a:lnTo>
                  <a:pt x="3370" y="2290"/>
                </a:lnTo>
                <a:lnTo>
                  <a:pt x="3373" y="2296"/>
                </a:lnTo>
                <a:lnTo>
                  <a:pt x="3375" y="2302"/>
                </a:lnTo>
                <a:lnTo>
                  <a:pt x="3377" y="2308"/>
                </a:lnTo>
                <a:lnTo>
                  <a:pt x="3379" y="2314"/>
                </a:lnTo>
                <a:lnTo>
                  <a:pt x="3380" y="2320"/>
                </a:lnTo>
                <a:lnTo>
                  <a:pt x="3381" y="2327"/>
                </a:lnTo>
                <a:lnTo>
                  <a:pt x="3382" y="2334"/>
                </a:lnTo>
                <a:lnTo>
                  <a:pt x="3382" y="2341"/>
                </a:lnTo>
                <a:lnTo>
                  <a:pt x="3382" y="2348"/>
                </a:lnTo>
                <a:lnTo>
                  <a:pt x="3382" y="2495"/>
                </a:lnTo>
                <a:lnTo>
                  <a:pt x="3383" y="2531"/>
                </a:lnTo>
                <a:lnTo>
                  <a:pt x="3384" y="2544"/>
                </a:lnTo>
                <a:lnTo>
                  <a:pt x="3385" y="2553"/>
                </a:lnTo>
                <a:lnTo>
                  <a:pt x="3324" y="2553"/>
                </a:lnTo>
                <a:lnTo>
                  <a:pt x="3322" y="2535"/>
                </a:lnTo>
                <a:lnTo>
                  <a:pt x="3322" y="2524"/>
                </a:lnTo>
                <a:lnTo>
                  <a:pt x="3322" y="2511"/>
                </a:lnTo>
                <a:lnTo>
                  <a:pt x="3318" y="2516"/>
                </a:lnTo>
                <a:lnTo>
                  <a:pt x="3314" y="2521"/>
                </a:lnTo>
                <a:lnTo>
                  <a:pt x="3309" y="2526"/>
                </a:lnTo>
                <a:lnTo>
                  <a:pt x="3304" y="2530"/>
                </a:lnTo>
                <a:lnTo>
                  <a:pt x="3299" y="2535"/>
                </a:lnTo>
                <a:lnTo>
                  <a:pt x="3293" y="2538"/>
                </a:lnTo>
                <a:lnTo>
                  <a:pt x="3287" y="2542"/>
                </a:lnTo>
                <a:lnTo>
                  <a:pt x="3281" y="2545"/>
                </a:lnTo>
                <a:lnTo>
                  <a:pt x="3267" y="2551"/>
                </a:lnTo>
                <a:lnTo>
                  <a:pt x="3260" y="2553"/>
                </a:lnTo>
                <a:lnTo>
                  <a:pt x="3252" y="2555"/>
                </a:lnTo>
                <a:lnTo>
                  <a:pt x="3244" y="2556"/>
                </a:lnTo>
                <a:lnTo>
                  <a:pt x="3236" y="2557"/>
                </a:lnTo>
                <a:lnTo>
                  <a:pt x="3219" y="2558"/>
                </a:lnTo>
                <a:lnTo>
                  <a:pt x="3207" y="2558"/>
                </a:lnTo>
                <a:lnTo>
                  <a:pt x="3195" y="2556"/>
                </a:lnTo>
                <a:lnTo>
                  <a:pt x="3184" y="2554"/>
                </a:lnTo>
                <a:lnTo>
                  <a:pt x="3174" y="2552"/>
                </a:lnTo>
                <a:lnTo>
                  <a:pt x="3164" y="2548"/>
                </a:lnTo>
                <a:lnTo>
                  <a:pt x="3155" y="2544"/>
                </a:lnTo>
                <a:lnTo>
                  <a:pt x="3147" y="2539"/>
                </a:lnTo>
                <a:lnTo>
                  <a:pt x="3139" y="2533"/>
                </a:lnTo>
                <a:lnTo>
                  <a:pt x="3132" y="2527"/>
                </a:lnTo>
                <a:lnTo>
                  <a:pt x="3129" y="2523"/>
                </a:lnTo>
                <a:lnTo>
                  <a:pt x="3126" y="2520"/>
                </a:lnTo>
                <a:lnTo>
                  <a:pt x="3121" y="2512"/>
                </a:lnTo>
                <a:lnTo>
                  <a:pt x="3117" y="2504"/>
                </a:lnTo>
                <a:lnTo>
                  <a:pt x="3113" y="2495"/>
                </a:lnTo>
                <a:lnTo>
                  <a:pt x="3111" y="2486"/>
                </a:lnTo>
                <a:lnTo>
                  <a:pt x="3109" y="2476"/>
                </a:lnTo>
                <a:lnTo>
                  <a:pt x="3109" y="2466"/>
                </a:lnTo>
                <a:lnTo>
                  <a:pt x="3109" y="2460"/>
                </a:lnTo>
                <a:lnTo>
                  <a:pt x="3109" y="2454"/>
                </a:lnTo>
                <a:lnTo>
                  <a:pt x="3110" y="2449"/>
                </a:lnTo>
                <a:lnTo>
                  <a:pt x="3111" y="2443"/>
                </a:lnTo>
                <a:lnTo>
                  <a:pt x="3113" y="2438"/>
                </a:lnTo>
                <a:lnTo>
                  <a:pt x="3114" y="2433"/>
                </a:lnTo>
                <a:lnTo>
                  <a:pt x="3116" y="2428"/>
                </a:lnTo>
                <a:lnTo>
                  <a:pt x="3119" y="2423"/>
                </a:lnTo>
                <a:lnTo>
                  <a:pt x="3124" y="2414"/>
                </a:lnTo>
                <a:lnTo>
                  <a:pt x="3128" y="2409"/>
                </a:lnTo>
                <a:lnTo>
                  <a:pt x="3131" y="2405"/>
                </a:lnTo>
                <a:lnTo>
                  <a:pt x="3139" y="2397"/>
                </a:lnTo>
                <a:lnTo>
                  <a:pt x="3143" y="2393"/>
                </a:lnTo>
                <a:lnTo>
                  <a:pt x="3148" y="2390"/>
                </a:lnTo>
                <a:lnTo>
                  <a:pt x="3158" y="2383"/>
                </a:lnTo>
                <a:lnTo>
                  <a:pt x="3169" y="2377"/>
                </a:lnTo>
                <a:lnTo>
                  <a:pt x="3181" y="2372"/>
                </a:lnTo>
                <a:lnTo>
                  <a:pt x="3193" y="2368"/>
                </a:lnTo>
                <a:lnTo>
                  <a:pt x="3200" y="2366"/>
                </a:lnTo>
                <a:lnTo>
                  <a:pt x="3207" y="2365"/>
                </a:lnTo>
                <a:lnTo>
                  <a:pt x="3222" y="2362"/>
                </a:lnTo>
                <a:lnTo>
                  <a:pt x="3229" y="2361"/>
                </a:lnTo>
                <a:lnTo>
                  <a:pt x="3237" y="2361"/>
                </a:lnTo>
                <a:lnTo>
                  <a:pt x="3253" y="2360"/>
                </a:lnTo>
                <a:close/>
                <a:moveTo>
                  <a:pt x="3235" y="2506"/>
                </a:moveTo>
                <a:lnTo>
                  <a:pt x="3243" y="2505"/>
                </a:lnTo>
                <a:lnTo>
                  <a:pt x="3251" y="2504"/>
                </a:lnTo>
                <a:lnTo>
                  <a:pt x="3259" y="2502"/>
                </a:lnTo>
                <a:lnTo>
                  <a:pt x="3267" y="2500"/>
                </a:lnTo>
                <a:lnTo>
                  <a:pt x="3274" y="2497"/>
                </a:lnTo>
                <a:lnTo>
                  <a:pt x="3282" y="2493"/>
                </a:lnTo>
                <a:lnTo>
                  <a:pt x="3288" y="2488"/>
                </a:lnTo>
                <a:lnTo>
                  <a:pt x="3295" y="2483"/>
                </a:lnTo>
                <a:lnTo>
                  <a:pt x="3301" y="2478"/>
                </a:lnTo>
                <a:lnTo>
                  <a:pt x="3306" y="2472"/>
                </a:lnTo>
                <a:lnTo>
                  <a:pt x="3311" y="2465"/>
                </a:lnTo>
                <a:lnTo>
                  <a:pt x="3315" y="2458"/>
                </a:lnTo>
                <a:lnTo>
                  <a:pt x="3318" y="2450"/>
                </a:lnTo>
                <a:lnTo>
                  <a:pt x="3320" y="2442"/>
                </a:lnTo>
                <a:lnTo>
                  <a:pt x="3321" y="2438"/>
                </a:lnTo>
                <a:lnTo>
                  <a:pt x="3322" y="2434"/>
                </a:lnTo>
                <a:lnTo>
                  <a:pt x="3322" y="2425"/>
                </a:lnTo>
                <a:lnTo>
                  <a:pt x="3322" y="2413"/>
                </a:lnTo>
                <a:lnTo>
                  <a:pt x="3257" y="2413"/>
                </a:lnTo>
                <a:lnTo>
                  <a:pt x="3248" y="2413"/>
                </a:lnTo>
                <a:lnTo>
                  <a:pt x="3238" y="2414"/>
                </a:lnTo>
                <a:lnTo>
                  <a:pt x="3230" y="2415"/>
                </a:lnTo>
                <a:lnTo>
                  <a:pt x="3221" y="2417"/>
                </a:lnTo>
                <a:lnTo>
                  <a:pt x="3214" y="2419"/>
                </a:lnTo>
                <a:lnTo>
                  <a:pt x="3207" y="2421"/>
                </a:lnTo>
                <a:lnTo>
                  <a:pt x="3201" y="2423"/>
                </a:lnTo>
                <a:lnTo>
                  <a:pt x="3195" y="2427"/>
                </a:lnTo>
                <a:lnTo>
                  <a:pt x="3190" y="2430"/>
                </a:lnTo>
                <a:lnTo>
                  <a:pt x="3186" y="2434"/>
                </a:lnTo>
                <a:lnTo>
                  <a:pt x="3182" y="2438"/>
                </a:lnTo>
                <a:lnTo>
                  <a:pt x="3179" y="2442"/>
                </a:lnTo>
                <a:lnTo>
                  <a:pt x="3177" y="2447"/>
                </a:lnTo>
                <a:lnTo>
                  <a:pt x="3175" y="2452"/>
                </a:lnTo>
                <a:lnTo>
                  <a:pt x="3174" y="2458"/>
                </a:lnTo>
                <a:lnTo>
                  <a:pt x="3174" y="2464"/>
                </a:lnTo>
                <a:lnTo>
                  <a:pt x="3174" y="2469"/>
                </a:lnTo>
                <a:lnTo>
                  <a:pt x="3175" y="2473"/>
                </a:lnTo>
                <a:lnTo>
                  <a:pt x="3176" y="2478"/>
                </a:lnTo>
                <a:lnTo>
                  <a:pt x="3178" y="2482"/>
                </a:lnTo>
                <a:lnTo>
                  <a:pt x="3180" y="2486"/>
                </a:lnTo>
                <a:lnTo>
                  <a:pt x="3183" y="2489"/>
                </a:lnTo>
                <a:lnTo>
                  <a:pt x="3186" y="2492"/>
                </a:lnTo>
                <a:lnTo>
                  <a:pt x="3189" y="2495"/>
                </a:lnTo>
                <a:lnTo>
                  <a:pt x="3193" y="2497"/>
                </a:lnTo>
                <a:lnTo>
                  <a:pt x="3198" y="2500"/>
                </a:lnTo>
                <a:lnTo>
                  <a:pt x="3203" y="2501"/>
                </a:lnTo>
                <a:lnTo>
                  <a:pt x="3208" y="2503"/>
                </a:lnTo>
                <a:lnTo>
                  <a:pt x="3214" y="2504"/>
                </a:lnTo>
                <a:lnTo>
                  <a:pt x="3221" y="2505"/>
                </a:lnTo>
                <a:lnTo>
                  <a:pt x="3227" y="2505"/>
                </a:lnTo>
                <a:lnTo>
                  <a:pt x="3235" y="2506"/>
                </a:lnTo>
                <a:close/>
                <a:moveTo>
                  <a:pt x="3605" y="2232"/>
                </a:moveTo>
                <a:lnTo>
                  <a:pt x="3605" y="2157"/>
                </a:lnTo>
                <a:lnTo>
                  <a:pt x="3668" y="2119"/>
                </a:lnTo>
                <a:lnTo>
                  <a:pt x="3668" y="2231"/>
                </a:lnTo>
                <a:lnTo>
                  <a:pt x="3758" y="2231"/>
                </a:lnTo>
                <a:lnTo>
                  <a:pt x="3758" y="2291"/>
                </a:lnTo>
                <a:lnTo>
                  <a:pt x="3668" y="2291"/>
                </a:lnTo>
                <a:lnTo>
                  <a:pt x="3668" y="2448"/>
                </a:lnTo>
                <a:lnTo>
                  <a:pt x="3668" y="2453"/>
                </a:lnTo>
                <a:lnTo>
                  <a:pt x="3669" y="2458"/>
                </a:lnTo>
                <a:lnTo>
                  <a:pt x="3670" y="2463"/>
                </a:lnTo>
                <a:lnTo>
                  <a:pt x="3671" y="2467"/>
                </a:lnTo>
                <a:lnTo>
                  <a:pt x="3672" y="2471"/>
                </a:lnTo>
                <a:lnTo>
                  <a:pt x="3674" y="2474"/>
                </a:lnTo>
                <a:lnTo>
                  <a:pt x="3678" y="2481"/>
                </a:lnTo>
                <a:lnTo>
                  <a:pt x="3683" y="2486"/>
                </a:lnTo>
                <a:lnTo>
                  <a:pt x="3687" y="2487"/>
                </a:lnTo>
                <a:lnTo>
                  <a:pt x="3690" y="2489"/>
                </a:lnTo>
                <a:lnTo>
                  <a:pt x="3693" y="2490"/>
                </a:lnTo>
                <a:lnTo>
                  <a:pt x="3697" y="2491"/>
                </a:lnTo>
                <a:lnTo>
                  <a:pt x="3701" y="2492"/>
                </a:lnTo>
                <a:lnTo>
                  <a:pt x="3705" y="2492"/>
                </a:lnTo>
                <a:lnTo>
                  <a:pt x="3760" y="2492"/>
                </a:lnTo>
                <a:lnTo>
                  <a:pt x="3760" y="2553"/>
                </a:lnTo>
                <a:lnTo>
                  <a:pt x="3692" y="2553"/>
                </a:lnTo>
                <a:lnTo>
                  <a:pt x="3684" y="2552"/>
                </a:lnTo>
                <a:lnTo>
                  <a:pt x="3676" y="2551"/>
                </a:lnTo>
                <a:lnTo>
                  <a:pt x="3672" y="2551"/>
                </a:lnTo>
                <a:lnTo>
                  <a:pt x="3668" y="2550"/>
                </a:lnTo>
                <a:lnTo>
                  <a:pt x="3660" y="2548"/>
                </a:lnTo>
                <a:lnTo>
                  <a:pt x="3652" y="2545"/>
                </a:lnTo>
                <a:lnTo>
                  <a:pt x="3645" y="2542"/>
                </a:lnTo>
                <a:lnTo>
                  <a:pt x="3638" y="2538"/>
                </a:lnTo>
                <a:lnTo>
                  <a:pt x="3631" y="2533"/>
                </a:lnTo>
                <a:lnTo>
                  <a:pt x="3625" y="2527"/>
                </a:lnTo>
                <a:lnTo>
                  <a:pt x="3620" y="2521"/>
                </a:lnTo>
                <a:lnTo>
                  <a:pt x="3615" y="2513"/>
                </a:lnTo>
                <a:lnTo>
                  <a:pt x="3611" y="2505"/>
                </a:lnTo>
                <a:lnTo>
                  <a:pt x="3608" y="2496"/>
                </a:lnTo>
                <a:lnTo>
                  <a:pt x="3605" y="2486"/>
                </a:lnTo>
                <a:lnTo>
                  <a:pt x="3604" y="2480"/>
                </a:lnTo>
                <a:lnTo>
                  <a:pt x="3604" y="2474"/>
                </a:lnTo>
                <a:lnTo>
                  <a:pt x="3603" y="2462"/>
                </a:lnTo>
                <a:lnTo>
                  <a:pt x="3603" y="2291"/>
                </a:lnTo>
                <a:lnTo>
                  <a:pt x="3543" y="2291"/>
                </a:lnTo>
                <a:lnTo>
                  <a:pt x="3543" y="2232"/>
                </a:lnTo>
                <a:lnTo>
                  <a:pt x="3605" y="2232"/>
                </a:lnTo>
                <a:close/>
                <a:moveTo>
                  <a:pt x="3878" y="2091"/>
                </a:moveTo>
                <a:lnTo>
                  <a:pt x="3878" y="2275"/>
                </a:lnTo>
                <a:lnTo>
                  <a:pt x="3881" y="2270"/>
                </a:lnTo>
                <a:lnTo>
                  <a:pt x="3884" y="2265"/>
                </a:lnTo>
                <a:lnTo>
                  <a:pt x="3888" y="2260"/>
                </a:lnTo>
                <a:lnTo>
                  <a:pt x="3893" y="2256"/>
                </a:lnTo>
                <a:lnTo>
                  <a:pt x="3897" y="2252"/>
                </a:lnTo>
                <a:lnTo>
                  <a:pt x="3902" y="2248"/>
                </a:lnTo>
                <a:lnTo>
                  <a:pt x="3908" y="2244"/>
                </a:lnTo>
                <a:lnTo>
                  <a:pt x="3914" y="2240"/>
                </a:lnTo>
                <a:lnTo>
                  <a:pt x="3920" y="2237"/>
                </a:lnTo>
                <a:lnTo>
                  <a:pt x="3927" y="2235"/>
                </a:lnTo>
                <a:lnTo>
                  <a:pt x="3934" y="2232"/>
                </a:lnTo>
                <a:lnTo>
                  <a:pt x="3941" y="2230"/>
                </a:lnTo>
                <a:lnTo>
                  <a:pt x="3948" y="2229"/>
                </a:lnTo>
                <a:lnTo>
                  <a:pt x="3956" y="2227"/>
                </a:lnTo>
                <a:lnTo>
                  <a:pt x="3964" y="2227"/>
                </a:lnTo>
                <a:lnTo>
                  <a:pt x="3972" y="2226"/>
                </a:lnTo>
                <a:lnTo>
                  <a:pt x="3984" y="2227"/>
                </a:lnTo>
                <a:lnTo>
                  <a:pt x="3995" y="2228"/>
                </a:lnTo>
                <a:lnTo>
                  <a:pt x="4006" y="2231"/>
                </a:lnTo>
                <a:lnTo>
                  <a:pt x="4011" y="2232"/>
                </a:lnTo>
                <a:lnTo>
                  <a:pt x="4017" y="2234"/>
                </a:lnTo>
                <a:lnTo>
                  <a:pt x="4027" y="2239"/>
                </a:lnTo>
                <a:lnTo>
                  <a:pt x="4037" y="2244"/>
                </a:lnTo>
                <a:lnTo>
                  <a:pt x="4047" y="2251"/>
                </a:lnTo>
                <a:lnTo>
                  <a:pt x="4051" y="2254"/>
                </a:lnTo>
                <a:lnTo>
                  <a:pt x="4055" y="2258"/>
                </a:lnTo>
                <a:lnTo>
                  <a:pt x="4064" y="2267"/>
                </a:lnTo>
                <a:lnTo>
                  <a:pt x="4067" y="2271"/>
                </a:lnTo>
                <a:lnTo>
                  <a:pt x="4071" y="2276"/>
                </a:lnTo>
                <a:lnTo>
                  <a:pt x="4077" y="2287"/>
                </a:lnTo>
                <a:lnTo>
                  <a:pt x="4083" y="2299"/>
                </a:lnTo>
                <a:lnTo>
                  <a:pt x="4087" y="2312"/>
                </a:lnTo>
                <a:lnTo>
                  <a:pt x="4090" y="2326"/>
                </a:lnTo>
                <a:lnTo>
                  <a:pt x="4092" y="2334"/>
                </a:lnTo>
                <a:lnTo>
                  <a:pt x="4092" y="2342"/>
                </a:lnTo>
                <a:lnTo>
                  <a:pt x="4093" y="2350"/>
                </a:lnTo>
                <a:lnTo>
                  <a:pt x="4093" y="2358"/>
                </a:lnTo>
                <a:lnTo>
                  <a:pt x="4093" y="2553"/>
                </a:lnTo>
                <a:lnTo>
                  <a:pt x="4028" y="2553"/>
                </a:lnTo>
                <a:lnTo>
                  <a:pt x="4028" y="2372"/>
                </a:lnTo>
                <a:lnTo>
                  <a:pt x="4027" y="2361"/>
                </a:lnTo>
                <a:lnTo>
                  <a:pt x="4026" y="2352"/>
                </a:lnTo>
                <a:lnTo>
                  <a:pt x="4025" y="2343"/>
                </a:lnTo>
                <a:lnTo>
                  <a:pt x="4022" y="2334"/>
                </a:lnTo>
                <a:lnTo>
                  <a:pt x="4021" y="2330"/>
                </a:lnTo>
                <a:lnTo>
                  <a:pt x="4019" y="2327"/>
                </a:lnTo>
                <a:lnTo>
                  <a:pt x="4016" y="2320"/>
                </a:lnTo>
                <a:lnTo>
                  <a:pt x="4012" y="2313"/>
                </a:lnTo>
                <a:lnTo>
                  <a:pt x="4007" y="2308"/>
                </a:lnTo>
                <a:lnTo>
                  <a:pt x="4002" y="2303"/>
                </a:lnTo>
                <a:lnTo>
                  <a:pt x="3997" y="2298"/>
                </a:lnTo>
                <a:lnTo>
                  <a:pt x="3991" y="2295"/>
                </a:lnTo>
                <a:lnTo>
                  <a:pt x="3984" y="2292"/>
                </a:lnTo>
                <a:lnTo>
                  <a:pt x="3977" y="2289"/>
                </a:lnTo>
                <a:lnTo>
                  <a:pt x="3970" y="2288"/>
                </a:lnTo>
                <a:lnTo>
                  <a:pt x="3962" y="2287"/>
                </a:lnTo>
                <a:lnTo>
                  <a:pt x="3954" y="2286"/>
                </a:lnTo>
                <a:lnTo>
                  <a:pt x="3946" y="2287"/>
                </a:lnTo>
                <a:lnTo>
                  <a:pt x="3938" y="2288"/>
                </a:lnTo>
                <a:lnTo>
                  <a:pt x="3931" y="2290"/>
                </a:lnTo>
                <a:lnTo>
                  <a:pt x="3923" y="2292"/>
                </a:lnTo>
                <a:lnTo>
                  <a:pt x="3917" y="2295"/>
                </a:lnTo>
                <a:lnTo>
                  <a:pt x="3910" y="2299"/>
                </a:lnTo>
                <a:lnTo>
                  <a:pt x="3907" y="2301"/>
                </a:lnTo>
                <a:lnTo>
                  <a:pt x="3904" y="2303"/>
                </a:lnTo>
                <a:lnTo>
                  <a:pt x="3899" y="2308"/>
                </a:lnTo>
                <a:lnTo>
                  <a:pt x="3894" y="2314"/>
                </a:lnTo>
                <a:lnTo>
                  <a:pt x="3890" y="2321"/>
                </a:lnTo>
                <a:lnTo>
                  <a:pt x="3887" y="2328"/>
                </a:lnTo>
                <a:lnTo>
                  <a:pt x="3884" y="2336"/>
                </a:lnTo>
                <a:lnTo>
                  <a:pt x="3881" y="2344"/>
                </a:lnTo>
                <a:lnTo>
                  <a:pt x="3879" y="2353"/>
                </a:lnTo>
                <a:lnTo>
                  <a:pt x="3878" y="2363"/>
                </a:lnTo>
                <a:lnTo>
                  <a:pt x="3878" y="2373"/>
                </a:lnTo>
                <a:lnTo>
                  <a:pt x="3878" y="2553"/>
                </a:lnTo>
                <a:lnTo>
                  <a:pt x="3811" y="2553"/>
                </a:lnTo>
                <a:lnTo>
                  <a:pt x="3811" y="2091"/>
                </a:lnTo>
                <a:lnTo>
                  <a:pt x="3878" y="2091"/>
                </a:lnTo>
                <a:close/>
                <a:moveTo>
                  <a:pt x="4230" y="2231"/>
                </a:moveTo>
                <a:lnTo>
                  <a:pt x="4230" y="2300"/>
                </a:lnTo>
                <a:lnTo>
                  <a:pt x="4232" y="2291"/>
                </a:lnTo>
                <a:lnTo>
                  <a:pt x="4235" y="2282"/>
                </a:lnTo>
                <a:lnTo>
                  <a:pt x="4239" y="2274"/>
                </a:lnTo>
                <a:lnTo>
                  <a:pt x="4243" y="2267"/>
                </a:lnTo>
                <a:lnTo>
                  <a:pt x="4247" y="2261"/>
                </a:lnTo>
                <a:lnTo>
                  <a:pt x="4252" y="2255"/>
                </a:lnTo>
                <a:lnTo>
                  <a:pt x="4257" y="2250"/>
                </a:lnTo>
                <a:lnTo>
                  <a:pt x="4263" y="2246"/>
                </a:lnTo>
                <a:lnTo>
                  <a:pt x="4269" y="2242"/>
                </a:lnTo>
                <a:lnTo>
                  <a:pt x="4275" y="2239"/>
                </a:lnTo>
                <a:lnTo>
                  <a:pt x="4282" y="2237"/>
                </a:lnTo>
                <a:lnTo>
                  <a:pt x="4288" y="2235"/>
                </a:lnTo>
                <a:lnTo>
                  <a:pt x="4295" y="2233"/>
                </a:lnTo>
                <a:lnTo>
                  <a:pt x="4302" y="2232"/>
                </a:lnTo>
                <a:lnTo>
                  <a:pt x="4315" y="2231"/>
                </a:lnTo>
                <a:lnTo>
                  <a:pt x="4353" y="2231"/>
                </a:lnTo>
                <a:lnTo>
                  <a:pt x="4353" y="2296"/>
                </a:lnTo>
                <a:lnTo>
                  <a:pt x="4302" y="2296"/>
                </a:lnTo>
                <a:lnTo>
                  <a:pt x="4295" y="2296"/>
                </a:lnTo>
                <a:lnTo>
                  <a:pt x="4288" y="2298"/>
                </a:lnTo>
                <a:lnTo>
                  <a:pt x="4281" y="2299"/>
                </a:lnTo>
                <a:lnTo>
                  <a:pt x="4274" y="2302"/>
                </a:lnTo>
                <a:lnTo>
                  <a:pt x="4268" y="2306"/>
                </a:lnTo>
                <a:lnTo>
                  <a:pt x="4262" y="2310"/>
                </a:lnTo>
                <a:lnTo>
                  <a:pt x="4256" y="2315"/>
                </a:lnTo>
                <a:lnTo>
                  <a:pt x="4251" y="2321"/>
                </a:lnTo>
                <a:lnTo>
                  <a:pt x="4246" y="2327"/>
                </a:lnTo>
                <a:lnTo>
                  <a:pt x="4242" y="2334"/>
                </a:lnTo>
                <a:lnTo>
                  <a:pt x="4238" y="2342"/>
                </a:lnTo>
                <a:lnTo>
                  <a:pt x="4235" y="2351"/>
                </a:lnTo>
                <a:lnTo>
                  <a:pt x="4233" y="2361"/>
                </a:lnTo>
                <a:lnTo>
                  <a:pt x="4231" y="2371"/>
                </a:lnTo>
                <a:lnTo>
                  <a:pt x="4230" y="2383"/>
                </a:lnTo>
                <a:lnTo>
                  <a:pt x="4230" y="2395"/>
                </a:lnTo>
                <a:lnTo>
                  <a:pt x="4230" y="2553"/>
                </a:lnTo>
                <a:lnTo>
                  <a:pt x="4164" y="2553"/>
                </a:lnTo>
                <a:lnTo>
                  <a:pt x="4164" y="2231"/>
                </a:lnTo>
                <a:lnTo>
                  <a:pt x="4230" y="2231"/>
                </a:lnTo>
                <a:close/>
                <a:moveTo>
                  <a:pt x="4425" y="2093"/>
                </a:moveTo>
                <a:lnTo>
                  <a:pt x="4434" y="2094"/>
                </a:lnTo>
                <a:lnTo>
                  <a:pt x="4438" y="2095"/>
                </a:lnTo>
                <a:lnTo>
                  <a:pt x="4442" y="2097"/>
                </a:lnTo>
                <a:lnTo>
                  <a:pt x="4445" y="2098"/>
                </a:lnTo>
                <a:lnTo>
                  <a:pt x="4449" y="2101"/>
                </a:lnTo>
                <a:lnTo>
                  <a:pt x="4452" y="2103"/>
                </a:lnTo>
                <a:lnTo>
                  <a:pt x="4455" y="2106"/>
                </a:lnTo>
                <a:lnTo>
                  <a:pt x="4460" y="2112"/>
                </a:lnTo>
                <a:lnTo>
                  <a:pt x="4462" y="2115"/>
                </a:lnTo>
                <a:lnTo>
                  <a:pt x="4464" y="2119"/>
                </a:lnTo>
                <a:lnTo>
                  <a:pt x="4465" y="2123"/>
                </a:lnTo>
                <a:lnTo>
                  <a:pt x="4466" y="2127"/>
                </a:lnTo>
                <a:lnTo>
                  <a:pt x="4467" y="2132"/>
                </a:lnTo>
                <a:lnTo>
                  <a:pt x="4467" y="2136"/>
                </a:lnTo>
                <a:lnTo>
                  <a:pt x="4467" y="2141"/>
                </a:lnTo>
                <a:lnTo>
                  <a:pt x="4466" y="2145"/>
                </a:lnTo>
                <a:lnTo>
                  <a:pt x="4465" y="2149"/>
                </a:lnTo>
                <a:lnTo>
                  <a:pt x="4464" y="2153"/>
                </a:lnTo>
                <a:lnTo>
                  <a:pt x="4462" y="2157"/>
                </a:lnTo>
                <a:lnTo>
                  <a:pt x="4460" y="2160"/>
                </a:lnTo>
                <a:lnTo>
                  <a:pt x="4455" y="2167"/>
                </a:lnTo>
                <a:lnTo>
                  <a:pt x="4452" y="2169"/>
                </a:lnTo>
                <a:lnTo>
                  <a:pt x="4449" y="2172"/>
                </a:lnTo>
                <a:lnTo>
                  <a:pt x="4442" y="2176"/>
                </a:lnTo>
                <a:lnTo>
                  <a:pt x="4438" y="2177"/>
                </a:lnTo>
                <a:lnTo>
                  <a:pt x="4434" y="2178"/>
                </a:lnTo>
                <a:lnTo>
                  <a:pt x="4425" y="2179"/>
                </a:lnTo>
                <a:lnTo>
                  <a:pt x="4416" y="2178"/>
                </a:lnTo>
                <a:lnTo>
                  <a:pt x="4412" y="2177"/>
                </a:lnTo>
                <a:lnTo>
                  <a:pt x="4408" y="2176"/>
                </a:lnTo>
                <a:lnTo>
                  <a:pt x="4404" y="2174"/>
                </a:lnTo>
                <a:lnTo>
                  <a:pt x="4401" y="2172"/>
                </a:lnTo>
                <a:lnTo>
                  <a:pt x="4397" y="2169"/>
                </a:lnTo>
                <a:lnTo>
                  <a:pt x="4394" y="2167"/>
                </a:lnTo>
                <a:lnTo>
                  <a:pt x="4391" y="2164"/>
                </a:lnTo>
                <a:lnTo>
                  <a:pt x="4389" y="2160"/>
                </a:lnTo>
                <a:lnTo>
                  <a:pt x="4387" y="2157"/>
                </a:lnTo>
                <a:lnTo>
                  <a:pt x="4385" y="2153"/>
                </a:lnTo>
                <a:lnTo>
                  <a:pt x="4384" y="2149"/>
                </a:lnTo>
                <a:lnTo>
                  <a:pt x="4382" y="2145"/>
                </a:lnTo>
                <a:lnTo>
                  <a:pt x="4382" y="2141"/>
                </a:lnTo>
                <a:lnTo>
                  <a:pt x="4382" y="2136"/>
                </a:lnTo>
                <a:lnTo>
                  <a:pt x="4382" y="2132"/>
                </a:lnTo>
                <a:lnTo>
                  <a:pt x="4382" y="2129"/>
                </a:lnTo>
                <a:lnTo>
                  <a:pt x="4382" y="2127"/>
                </a:lnTo>
                <a:lnTo>
                  <a:pt x="4384" y="2123"/>
                </a:lnTo>
                <a:lnTo>
                  <a:pt x="4385" y="2119"/>
                </a:lnTo>
                <a:lnTo>
                  <a:pt x="4387" y="2115"/>
                </a:lnTo>
                <a:lnTo>
                  <a:pt x="4389" y="2112"/>
                </a:lnTo>
                <a:lnTo>
                  <a:pt x="4391" y="2109"/>
                </a:lnTo>
                <a:lnTo>
                  <a:pt x="4394" y="2106"/>
                </a:lnTo>
                <a:lnTo>
                  <a:pt x="4397" y="2103"/>
                </a:lnTo>
                <a:lnTo>
                  <a:pt x="4401" y="2101"/>
                </a:lnTo>
                <a:lnTo>
                  <a:pt x="4408" y="2097"/>
                </a:lnTo>
                <a:lnTo>
                  <a:pt x="4412" y="2095"/>
                </a:lnTo>
                <a:lnTo>
                  <a:pt x="4416" y="2094"/>
                </a:lnTo>
                <a:lnTo>
                  <a:pt x="4425" y="2093"/>
                </a:lnTo>
                <a:close/>
                <a:moveTo>
                  <a:pt x="4457" y="2231"/>
                </a:moveTo>
                <a:lnTo>
                  <a:pt x="4457" y="2553"/>
                </a:lnTo>
                <a:lnTo>
                  <a:pt x="4392" y="2553"/>
                </a:lnTo>
                <a:lnTo>
                  <a:pt x="4392" y="2231"/>
                </a:lnTo>
                <a:lnTo>
                  <a:pt x="4457" y="2231"/>
                </a:lnTo>
                <a:close/>
                <a:moveTo>
                  <a:pt x="4661" y="2467"/>
                </a:moveTo>
                <a:lnTo>
                  <a:pt x="4756" y="2231"/>
                </a:lnTo>
                <a:lnTo>
                  <a:pt x="4827" y="2231"/>
                </a:lnTo>
                <a:lnTo>
                  <a:pt x="4692" y="2553"/>
                </a:lnTo>
                <a:lnTo>
                  <a:pt x="4630" y="2553"/>
                </a:lnTo>
                <a:lnTo>
                  <a:pt x="4495" y="2231"/>
                </a:lnTo>
                <a:lnTo>
                  <a:pt x="4567" y="2231"/>
                </a:lnTo>
                <a:lnTo>
                  <a:pt x="4661" y="2467"/>
                </a:lnTo>
                <a:close/>
                <a:moveTo>
                  <a:pt x="4896" y="2093"/>
                </a:moveTo>
                <a:lnTo>
                  <a:pt x="4904" y="2094"/>
                </a:lnTo>
                <a:lnTo>
                  <a:pt x="4908" y="2095"/>
                </a:lnTo>
                <a:lnTo>
                  <a:pt x="4912" y="2097"/>
                </a:lnTo>
                <a:lnTo>
                  <a:pt x="4916" y="2098"/>
                </a:lnTo>
                <a:lnTo>
                  <a:pt x="4919" y="2101"/>
                </a:lnTo>
                <a:lnTo>
                  <a:pt x="4923" y="2103"/>
                </a:lnTo>
                <a:lnTo>
                  <a:pt x="4926" y="2106"/>
                </a:lnTo>
                <a:lnTo>
                  <a:pt x="4931" y="2112"/>
                </a:lnTo>
                <a:lnTo>
                  <a:pt x="4933" y="2115"/>
                </a:lnTo>
                <a:lnTo>
                  <a:pt x="4934" y="2119"/>
                </a:lnTo>
                <a:lnTo>
                  <a:pt x="4936" y="2123"/>
                </a:lnTo>
                <a:lnTo>
                  <a:pt x="4937" y="2127"/>
                </a:lnTo>
                <a:lnTo>
                  <a:pt x="4937" y="2132"/>
                </a:lnTo>
                <a:lnTo>
                  <a:pt x="4938" y="2136"/>
                </a:lnTo>
                <a:lnTo>
                  <a:pt x="4937" y="2141"/>
                </a:lnTo>
                <a:lnTo>
                  <a:pt x="4937" y="2145"/>
                </a:lnTo>
                <a:lnTo>
                  <a:pt x="4936" y="2149"/>
                </a:lnTo>
                <a:lnTo>
                  <a:pt x="4934" y="2153"/>
                </a:lnTo>
                <a:lnTo>
                  <a:pt x="4933" y="2157"/>
                </a:lnTo>
                <a:lnTo>
                  <a:pt x="4931" y="2160"/>
                </a:lnTo>
                <a:lnTo>
                  <a:pt x="4926" y="2167"/>
                </a:lnTo>
                <a:lnTo>
                  <a:pt x="4923" y="2169"/>
                </a:lnTo>
                <a:lnTo>
                  <a:pt x="4919" y="2172"/>
                </a:lnTo>
                <a:lnTo>
                  <a:pt x="4912" y="2176"/>
                </a:lnTo>
                <a:lnTo>
                  <a:pt x="4908" y="2177"/>
                </a:lnTo>
                <a:lnTo>
                  <a:pt x="4904" y="2178"/>
                </a:lnTo>
                <a:lnTo>
                  <a:pt x="4896" y="2179"/>
                </a:lnTo>
                <a:lnTo>
                  <a:pt x="4887" y="2178"/>
                </a:lnTo>
                <a:lnTo>
                  <a:pt x="4883" y="2177"/>
                </a:lnTo>
                <a:lnTo>
                  <a:pt x="4879" y="2176"/>
                </a:lnTo>
                <a:lnTo>
                  <a:pt x="4875" y="2174"/>
                </a:lnTo>
                <a:lnTo>
                  <a:pt x="4871" y="2172"/>
                </a:lnTo>
                <a:lnTo>
                  <a:pt x="4868" y="2169"/>
                </a:lnTo>
                <a:lnTo>
                  <a:pt x="4865" y="2167"/>
                </a:lnTo>
                <a:lnTo>
                  <a:pt x="4862" y="2164"/>
                </a:lnTo>
                <a:lnTo>
                  <a:pt x="4859" y="2160"/>
                </a:lnTo>
                <a:lnTo>
                  <a:pt x="4857" y="2157"/>
                </a:lnTo>
                <a:lnTo>
                  <a:pt x="4855" y="2153"/>
                </a:lnTo>
                <a:lnTo>
                  <a:pt x="4854" y="2149"/>
                </a:lnTo>
                <a:lnTo>
                  <a:pt x="4853" y="2145"/>
                </a:lnTo>
                <a:lnTo>
                  <a:pt x="4852" y="2141"/>
                </a:lnTo>
                <a:lnTo>
                  <a:pt x="4852" y="2136"/>
                </a:lnTo>
                <a:lnTo>
                  <a:pt x="4852" y="2132"/>
                </a:lnTo>
                <a:lnTo>
                  <a:pt x="4853" y="2129"/>
                </a:lnTo>
                <a:lnTo>
                  <a:pt x="4853" y="2127"/>
                </a:lnTo>
                <a:lnTo>
                  <a:pt x="4854" y="2123"/>
                </a:lnTo>
                <a:lnTo>
                  <a:pt x="4855" y="2119"/>
                </a:lnTo>
                <a:lnTo>
                  <a:pt x="4857" y="2115"/>
                </a:lnTo>
                <a:lnTo>
                  <a:pt x="4859" y="2112"/>
                </a:lnTo>
                <a:lnTo>
                  <a:pt x="4862" y="2109"/>
                </a:lnTo>
                <a:lnTo>
                  <a:pt x="4865" y="2106"/>
                </a:lnTo>
                <a:lnTo>
                  <a:pt x="4868" y="2103"/>
                </a:lnTo>
                <a:lnTo>
                  <a:pt x="4871" y="2101"/>
                </a:lnTo>
                <a:lnTo>
                  <a:pt x="4879" y="2097"/>
                </a:lnTo>
                <a:lnTo>
                  <a:pt x="4883" y="2095"/>
                </a:lnTo>
                <a:lnTo>
                  <a:pt x="4887" y="2094"/>
                </a:lnTo>
                <a:lnTo>
                  <a:pt x="4896" y="2093"/>
                </a:lnTo>
                <a:close/>
                <a:moveTo>
                  <a:pt x="4928" y="2231"/>
                </a:moveTo>
                <a:lnTo>
                  <a:pt x="4928" y="2553"/>
                </a:lnTo>
                <a:lnTo>
                  <a:pt x="4862" y="2553"/>
                </a:lnTo>
                <a:lnTo>
                  <a:pt x="4862" y="2231"/>
                </a:lnTo>
                <a:lnTo>
                  <a:pt x="4928" y="2231"/>
                </a:lnTo>
                <a:close/>
                <a:moveTo>
                  <a:pt x="5068" y="2231"/>
                </a:moveTo>
                <a:lnTo>
                  <a:pt x="5068" y="2275"/>
                </a:lnTo>
                <a:lnTo>
                  <a:pt x="5071" y="2270"/>
                </a:lnTo>
                <a:lnTo>
                  <a:pt x="5075" y="2265"/>
                </a:lnTo>
                <a:lnTo>
                  <a:pt x="5079" y="2260"/>
                </a:lnTo>
                <a:lnTo>
                  <a:pt x="5084" y="2255"/>
                </a:lnTo>
                <a:lnTo>
                  <a:pt x="5095" y="2247"/>
                </a:lnTo>
                <a:lnTo>
                  <a:pt x="5101" y="2243"/>
                </a:lnTo>
                <a:lnTo>
                  <a:pt x="5107" y="2239"/>
                </a:lnTo>
                <a:lnTo>
                  <a:pt x="5113" y="2236"/>
                </a:lnTo>
                <a:lnTo>
                  <a:pt x="5120" y="2234"/>
                </a:lnTo>
                <a:lnTo>
                  <a:pt x="5127" y="2231"/>
                </a:lnTo>
                <a:lnTo>
                  <a:pt x="5134" y="2229"/>
                </a:lnTo>
                <a:lnTo>
                  <a:pt x="5141" y="2228"/>
                </a:lnTo>
                <a:lnTo>
                  <a:pt x="5149" y="2227"/>
                </a:lnTo>
                <a:lnTo>
                  <a:pt x="5156" y="2226"/>
                </a:lnTo>
                <a:lnTo>
                  <a:pt x="5164" y="2226"/>
                </a:lnTo>
                <a:lnTo>
                  <a:pt x="5176" y="2226"/>
                </a:lnTo>
                <a:lnTo>
                  <a:pt x="5188" y="2228"/>
                </a:lnTo>
                <a:lnTo>
                  <a:pt x="5200" y="2231"/>
                </a:lnTo>
                <a:lnTo>
                  <a:pt x="5211" y="2235"/>
                </a:lnTo>
                <a:lnTo>
                  <a:pt x="5221" y="2240"/>
                </a:lnTo>
                <a:lnTo>
                  <a:pt x="5227" y="2243"/>
                </a:lnTo>
                <a:lnTo>
                  <a:pt x="5231" y="2246"/>
                </a:lnTo>
                <a:lnTo>
                  <a:pt x="5241" y="2253"/>
                </a:lnTo>
                <a:lnTo>
                  <a:pt x="5249" y="2261"/>
                </a:lnTo>
                <a:lnTo>
                  <a:pt x="5253" y="2266"/>
                </a:lnTo>
                <a:lnTo>
                  <a:pt x="5257" y="2270"/>
                </a:lnTo>
                <a:lnTo>
                  <a:pt x="5260" y="2275"/>
                </a:lnTo>
                <a:lnTo>
                  <a:pt x="5264" y="2280"/>
                </a:lnTo>
                <a:lnTo>
                  <a:pt x="5267" y="2285"/>
                </a:lnTo>
                <a:lnTo>
                  <a:pt x="5270" y="2291"/>
                </a:lnTo>
                <a:lnTo>
                  <a:pt x="5275" y="2303"/>
                </a:lnTo>
                <a:lnTo>
                  <a:pt x="5279" y="2315"/>
                </a:lnTo>
                <a:lnTo>
                  <a:pt x="5280" y="2322"/>
                </a:lnTo>
                <a:lnTo>
                  <a:pt x="5282" y="2329"/>
                </a:lnTo>
                <a:lnTo>
                  <a:pt x="5283" y="2336"/>
                </a:lnTo>
                <a:lnTo>
                  <a:pt x="5283" y="2343"/>
                </a:lnTo>
                <a:lnTo>
                  <a:pt x="5284" y="2350"/>
                </a:lnTo>
                <a:lnTo>
                  <a:pt x="5284" y="2358"/>
                </a:lnTo>
                <a:lnTo>
                  <a:pt x="5284" y="2553"/>
                </a:lnTo>
                <a:lnTo>
                  <a:pt x="5218" y="2553"/>
                </a:lnTo>
                <a:lnTo>
                  <a:pt x="5218" y="2371"/>
                </a:lnTo>
                <a:lnTo>
                  <a:pt x="5218" y="2361"/>
                </a:lnTo>
                <a:lnTo>
                  <a:pt x="5217" y="2352"/>
                </a:lnTo>
                <a:lnTo>
                  <a:pt x="5216" y="2343"/>
                </a:lnTo>
                <a:lnTo>
                  <a:pt x="5215" y="2339"/>
                </a:lnTo>
                <a:lnTo>
                  <a:pt x="5214" y="2335"/>
                </a:lnTo>
                <a:lnTo>
                  <a:pt x="5211" y="2327"/>
                </a:lnTo>
                <a:lnTo>
                  <a:pt x="5208" y="2321"/>
                </a:lnTo>
                <a:lnTo>
                  <a:pt x="5204" y="2314"/>
                </a:lnTo>
                <a:lnTo>
                  <a:pt x="5201" y="2311"/>
                </a:lnTo>
                <a:lnTo>
                  <a:pt x="5199" y="2309"/>
                </a:lnTo>
                <a:lnTo>
                  <a:pt x="5194" y="2303"/>
                </a:lnTo>
                <a:lnTo>
                  <a:pt x="5189" y="2299"/>
                </a:lnTo>
                <a:lnTo>
                  <a:pt x="5183" y="2295"/>
                </a:lnTo>
                <a:lnTo>
                  <a:pt x="5176" y="2292"/>
                </a:lnTo>
                <a:lnTo>
                  <a:pt x="5169" y="2290"/>
                </a:lnTo>
                <a:lnTo>
                  <a:pt x="5161" y="2288"/>
                </a:lnTo>
                <a:lnTo>
                  <a:pt x="5153" y="2287"/>
                </a:lnTo>
                <a:lnTo>
                  <a:pt x="5145" y="2286"/>
                </a:lnTo>
                <a:lnTo>
                  <a:pt x="5136" y="2287"/>
                </a:lnTo>
                <a:lnTo>
                  <a:pt x="5128" y="2288"/>
                </a:lnTo>
                <a:lnTo>
                  <a:pt x="5120" y="2290"/>
                </a:lnTo>
                <a:lnTo>
                  <a:pt x="5113" y="2292"/>
                </a:lnTo>
                <a:lnTo>
                  <a:pt x="5106" y="2296"/>
                </a:lnTo>
                <a:lnTo>
                  <a:pt x="5100" y="2299"/>
                </a:lnTo>
                <a:lnTo>
                  <a:pt x="5094" y="2304"/>
                </a:lnTo>
                <a:lnTo>
                  <a:pt x="5088" y="2309"/>
                </a:lnTo>
                <a:lnTo>
                  <a:pt x="5086" y="2312"/>
                </a:lnTo>
                <a:lnTo>
                  <a:pt x="5083" y="2315"/>
                </a:lnTo>
                <a:lnTo>
                  <a:pt x="5079" y="2322"/>
                </a:lnTo>
                <a:lnTo>
                  <a:pt x="5076" y="2329"/>
                </a:lnTo>
                <a:lnTo>
                  <a:pt x="5073" y="2336"/>
                </a:lnTo>
                <a:lnTo>
                  <a:pt x="5071" y="2344"/>
                </a:lnTo>
                <a:lnTo>
                  <a:pt x="5070" y="2349"/>
                </a:lnTo>
                <a:lnTo>
                  <a:pt x="5069" y="2353"/>
                </a:lnTo>
                <a:lnTo>
                  <a:pt x="5068" y="2362"/>
                </a:lnTo>
                <a:lnTo>
                  <a:pt x="5068" y="2372"/>
                </a:lnTo>
                <a:lnTo>
                  <a:pt x="5068" y="2553"/>
                </a:lnTo>
                <a:lnTo>
                  <a:pt x="5002" y="2553"/>
                </a:lnTo>
                <a:lnTo>
                  <a:pt x="5002" y="2231"/>
                </a:lnTo>
                <a:lnTo>
                  <a:pt x="5068" y="2231"/>
                </a:lnTo>
                <a:close/>
                <a:moveTo>
                  <a:pt x="5478" y="2226"/>
                </a:moveTo>
                <a:lnTo>
                  <a:pt x="5486" y="2226"/>
                </a:lnTo>
                <a:lnTo>
                  <a:pt x="5494" y="2227"/>
                </a:lnTo>
                <a:lnTo>
                  <a:pt x="5502" y="2228"/>
                </a:lnTo>
                <a:lnTo>
                  <a:pt x="5510" y="2230"/>
                </a:lnTo>
                <a:lnTo>
                  <a:pt x="5518" y="2232"/>
                </a:lnTo>
                <a:lnTo>
                  <a:pt x="5525" y="2234"/>
                </a:lnTo>
                <a:lnTo>
                  <a:pt x="5532" y="2237"/>
                </a:lnTo>
                <a:lnTo>
                  <a:pt x="5539" y="2240"/>
                </a:lnTo>
                <a:lnTo>
                  <a:pt x="5545" y="2244"/>
                </a:lnTo>
                <a:lnTo>
                  <a:pt x="5552" y="2248"/>
                </a:lnTo>
                <a:lnTo>
                  <a:pt x="5557" y="2252"/>
                </a:lnTo>
                <a:lnTo>
                  <a:pt x="5563" y="2257"/>
                </a:lnTo>
                <a:lnTo>
                  <a:pt x="5568" y="2261"/>
                </a:lnTo>
                <a:lnTo>
                  <a:pt x="5572" y="2266"/>
                </a:lnTo>
                <a:lnTo>
                  <a:pt x="5576" y="2272"/>
                </a:lnTo>
                <a:lnTo>
                  <a:pt x="5579" y="2277"/>
                </a:lnTo>
                <a:lnTo>
                  <a:pt x="5579" y="2231"/>
                </a:lnTo>
                <a:lnTo>
                  <a:pt x="5645" y="2231"/>
                </a:lnTo>
                <a:lnTo>
                  <a:pt x="5645" y="2529"/>
                </a:lnTo>
                <a:lnTo>
                  <a:pt x="5645" y="2538"/>
                </a:lnTo>
                <a:lnTo>
                  <a:pt x="5644" y="2546"/>
                </a:lnTo>
                <a:lnTo>
                  <a:pt x="5643" y="2554"/>
                </a:lnTo>
                <a:lnTo>
                  <a:pt x="5642" y="2562"/>
                </a:lnTo>
                <a:lnTo>
                  <a:pt x="5640" y="2570"/>
                </a:lnTo>
                <a:lnTo>
                  <a:pt x="5638" y="2578"/>
                </a:lnTo>
                <a:lnTo>
                  <a:pt x="5633" y="2592"/>
                </a:lnTo>
                <a:lnTo>
                  <a:pt x="5630" y="2599"/>
                </a:lnTo>
                <a:lnTo>
                  <a:pt x="5627" y="2606"/>
                </a:lnTo>
                <a:lnTo>
                  <a:pt x="5623" y="2612"/>
                </a:lnTo>
                <a:lnTo>
                  <a:pt x="5619" y="2618"/>
                </a:lnTo>
                <a:lnTo>
                  <a:pt x="5615" y="2624"/>
                </a:lnTo>
                <a:lnTo>
                  <a:pt x="5610" y="2630"/>
                </a:lnTo>
                <a:lnTo>
                  <a:pt x="5605" y="2635"/>
                </a:lnTo>
                <a:lnTo>
                  <a:pt x="5600" y="2640"/>
                </a:lnTo>
                <a:lnTo>
                  <a:pt x="5594" y="2645"/>
                </a:lnTo>
                <a:lnTo>
                  <a:pt x="5589" y="2650"/>
                </a:lnTo>
                <a:lnTo>
                  <a:pt x="5583" y="2654"/>
                </a:lnTo>
                <a:lnTo>
                  <a:pt x="5576" y="2658"/>
                </a:lnTo>
                <a:lnTo>
                  <a:pt x="5563" y="2665"/>
                </a:lnTo>
                <a:lnTo>
                  <a:pt x="5556" y="2668"/>
                </a:lnTo>
                <a:lnTo>
                  <a:pt x="5549" y="2671"/>
                </a:lnTo>
                <a:lnTo>
                  <a:pt x="5533" y="2676"/>
                </a:lnTo>
                <a:lnTo>
                  <a:pt x="5517" y="2679"/>
                </a:lnTo>
                <a:lnTo>
                  <a:pt x="5509" y="2681"/>
                </a:lnTo>
                <a:lnTo>
                  <a:pt x="5500" y="2681"/>
                </a:lnTo>
                <a:lnTo>
                  <a:pt x="5481" y="2682"/>
                </a:lnTo>
                <a:lnTo>
                  <a:pt x="5470" y="2682"/>
                </a:lnTo>
                <a:lnTo>
                  <a:pt x="5460" y="2681"/>
                </a:lnTo>
                <a:lnTo>
                  <a:pt x="5450" y="2680"/>
                </a:lnTo>
                <a:lnTo>
                  <a:pt x="5440" y="2679"/>
                </a:lnTo>
                <a:lnTo>
                  <a:pt x="5430" y="2677"/>
                </a:lnTo>
                <a:lnTo>
                  <a:pt x="5420" y="2674"/>
                </a:lnTo>
                <a:lnTo>
                  <a:pt x="5411" y="2672"/>
                </a:lnTo>
                <a:lnTo>
                  <a:pt x="5402" y="2668"/>
                </a:lnTo>
                <a:lnTo>
                  <a:pt x="5393" y="2665"/>
                </a:lnTo>
                <a:lnTo>
                  <a:pt x="5385" y="2661"/>
                </a:lnTo>
                <a:lnTo>
                  <a:pt x="5377" y="2657"/>
                </a:lnTo>
                <a:lnTo>
                  <a:pt x="5369" y="2652"/>
                </a:lnTo>
                <a:lnTo>
                  <a:pt x="5362" y="2647"/>
                </a:lnTo>
                <a:lnTo>
                  <a:pt x="5355" y="2641"/>
                </a:lnTo>
                <a:lnTo>
                  <a:pt x="5348" y="2636"/>
                </a:lnTo>
                <a:lnTo>
                  <a:pt x="5342" y="2630"/>
                </a:lnTo>
                <a:lnTo>
                  <a:pt x="5373" y="2577"/>
                </a:lnTo>
                <a:lnTo>
                  <a:pt x="5383" y="2586"/>
                </a:lnTo>
                <a:lnTo>
                  <a:pt x="5394" y="2595"/>
                </a:lnTo>
                <a:lnTo>
                  <a:pt x="5407" y="2603"/>
                </a:lnTo>
                <a:lnTo>
                  <a:pt x="5413" y="2607"/>
                </a:lnTo>
                <a:lnTo>
                  <a:pt x="5420" y="2610"/>
                </a:lnTo>
                <a:lnTo>
                  <a:pt x="5427" y="2613"/>
                </a:lnTo>
                <a:lnTo>
                  <a:pt x="5435" y="2616"/>
                </a:lnTo>
                <a:lnTo>
                  <a:pt x="5442" y="2618"/>
                </a:lnTo>
                <a:lnTo>
                  <a:pt x="5450" y="2620"/>
                </a:lnTo>
                <a:lnTo>
                  <a:pt x="5457" y="2622"/>
                </a:lnTo>
                <a:lnTo>
                  <a:pt x="5465" y="2623"/>
                </a:lnTo>
                <a:lnTo>
                  <a:pt x="5473" y="2623"/>
                </a:lnTo>
                <a:lnTo>
                  <a:pt x="5481" y="2624"/>
                </a:lnTo>
                <a:lnTo>
                  <a:pt x="5492" y="2623"/>
                </a:lnTo>
                <a:lnTo>
                  <a:pt x="5503" y="2622"/>
                </a:lnTo>
                <a:lnTo>
                  <a:pt x="5513" y="2620"/>
                </a:lnTo>
                <a:lnTo>
                  <a:pt x="5522" y="2617"/>
                </a:lnTo>
                <a:lnTo>
                  <a:pt x="5531" y="2614"/>
                </a:lnTo>
                <a:lnTo>
                  <a:pt x="5539" y="2610"/>
                </a:lnTo>
                <a:lnTo>
                  <a:pt x="5546" y="2605"/>
                </a:lnTo>
                <a:lnTo>
                  <a:pt x="5550" y="2602"/>
                </a:lnTo>
                <a:lnTo>
                  <a:pt x="5553" y="2599"/>
                </a:lnTo>
                <a:lnTo>
                  <a:pt x="5556" y="2596"/>
                </a:lnTo>
                <a:lnTo>
                  <a:pt x="5559" y="2593"/>
                </a:lnTo>
                <a:lnTo>
                  <a:pt x="5564" y="2586"/>
                </a:lnTo>
                <a:lnTo>
                  <a:pt x="5569" y="2578"/>
                </a:lnTo>
                <a:lnTo>
                  <a:pt x="5573" y="2570"/>
                </a:lnTo>
                <a:lnTo>
                  <a:pt x="5575" y="2566"/>
                </a:lnTo>
                <a:lnTo>
                  <a:pt x="5576" y="2561"/>
                </a:lnTo>
                <a:lnTo>
                  <a:pt x="5577" y="2556"/>
                </a:lnTo>
                <a:lnTo>
                  <a:pt x="5578" y="2551"/>
                </a:lnTo>
                <a:lnTo>
                  <a:pt x="5580" y="2541"/>
                </a:lnTo>
                <a:lnTo>
                  <a:pt x="5580" y="2530"/>
                </a:lnTo>
                <a:lnTo>
                  <a:pt x="5580" y="2497"/>
                </a:lnTo>
                <a:lnTo>
                  <a:pt x="5577" y="2502"/>
                </a:lnTo>
                <a:lnTo>
                  <a:pt x="5573" y="2508"/>
                </a:lnTo>
                <a:lnTo>
                  <a:pt x="5568" y="2513"/>
                </a:lnTo>
                <a:lnTo>
                  <a:pt x="5563" y="2518"/>
                </a:lnTo>
                <a:lnTo>
                  <a:pt x="5558" y="2522"/>
                </a:lnTo>
                <a:lnTo>
                  <a:pt x="5552" y="2526"/>
                </a:lnTo>
                <a:lnTo>
                  <a:pt x="5546" y="2530"/>
                </a:lnTo>
                <a:lnTo>
                  <a:pt x="5539" y="2534"/>
                </a:lnTo>
                <a:lnTo>
                  <a:pt x="5533" y="2537"/>
                </a:lnTo>
                <a:lnTo>
                  <a:pt x="5526" y="2540"/>
                </a:lnTo>
                <a:lnTo>
                  <a:pt x="5518" y="2543"/>
                </a:lnTo>
                <a:lnTo>
                  <a:pt x="5511" y="2545"/>
                </a:lnTo>
                <a:lnTo>
                  <a:pt x="5503" y="2547"/>
                </a:lnTo>
                <a:lnTo>
                  <a:pt x="5494" y="2548"/>
                </a:lnTo>
                <a:lnTo>
                  <a:pt x="5486" y="2549"/>
                </a:lnTo>
                <a:lnTo>
                  <a:pt x="5478" y="2549"/>
                </a:lnTo>
                <a:lnTo>
                  <a:pt x="5463" y="2548"/>
                </a:lnTo>
                <a:lnTo>
                  <a:pt x="5455" y="2547"/>
                </a:lnTo>
                <a:lnTo>
                  <a:pt x="5448" y="2546"/>
                </a:lnTo>
                <a:lnTo>
                  <a:pt x="5441" y="2544"/>
                </a:lnTo>
                <a:lnTo>
                  <a:pt x="5434" y="2542"/>
                </a:lnTo>
                <a:lnTo>
                  <a:pt x="5427" y="2540"/>
                </a:lnTo>
                <a:lnTo>
                  <a:pt x="5421" y="2537"/>
                </a:lnTo>
                <a:lnTo>
                  <a:pt x="5408" y="2531"/>
                </a:lnTo>
                <a:lnTo>
                  <a:pt x="5396" y="2523"/>
                </a:lnTo>
                <a:lnTo>
                  <a:pt x="5390" y="2518"/>
                </a:lnTo>
                <a:lnTo>
                  <a:pt x="5385" y="2514"/>
                </a:lnTo>
                <a:lnTo>
                  <a:pt x="5375" y="2503"/>
                </a:lnTo>
                <a:lnTo>
                  <a:pt x="5370" y="2498"/>
                </a:lnTo>
                <a:lnTo>
                  <a:pt x="5366" y="2492"/>
                </a:lnTo>
                <a:lnTo>
                  <a:pt x="5358" y="2480"/>
                </a:lnTo>
                <a:lnTo>
                  <a:pt x="5354" y="2473"/>
                </a:lnTo>
                <a:lnTo>
                  <a:pt x="5351" y="2466"/>
                </a:lnTo>
                <a:lnTo>
                  <a:pt x="5347" y="2459"/>
                </a:lnTo>
                <a:lnTo>
                  <a:pt x="5345" y="2452"/>
                </a:lnTo>
                <a:lnTo>
                  <a:pt x="5340" y="2437"/>
                </a:lnTo>
                <a:lnTo>
                  <a:pt x="5336" y="2422"/>
                </a:lnTo>
                <a:lnTo>
                  <a:pt x="5335" y="2414"/>
                </a:lnTo>
                <a:lnTo>
                  <a:pt x="5334" y="2405"/>
                </a:lnTo>
                <a:lnTo>
                  <a:pt x="5334" y="2397"/>
                </a:lnTo>
                <a:lnTo>
                  <a:pt x="5334" y="2388"/>
                </a:lnTo>
                <a:lnTo>
                  <a:pt x="5334" y="2380"/>
                </a:lnTo>
                <a:lnTo>
                  <a:pt x="5334" y="2371"/>
                </a:lnTo>
                <a:lnTo>
                  <a:pt x="5336" y="2355"/>
                </a:lnTo>
                <a:lnTo>
                  <a:pt x="5338" y="2347"/>
                </a:lnTo>
                <a:lnTo>
                  <a:pt x="5340" y="2339"/>
                </a:lnTo>
                <a:lnTo>
                  <a:pt x="5342" y="2331"/>
                </a:lnTo>
                <a:lnTo>
                  <a:pt x="5345" y="2324"/>
                </a:lnTo>
                <a:lnTo>
                  <a:pt x="5348" y="2317"/>
                </a:lnTo>
                <a:lnTo>
                  <a:pt x="5351" y="2310"/>
                </a:lnTo>
                <a:lnTo>
                  <a:pt x="5358" y="2296"/>
                </a:lnTo>
                <a:lnTo>
                  <a:pt x="5362" y="2290"/>
                </a:lnTo>
                <a:lnTo>
                  <a:pt x="5366" y="2284"/>
                </a:lnTo>
                <a:lnTo>
                  <a:pt x="5375" y="2272"/>
                </a:lnTo>
                <a:lnTo>
                  <a:pt x="5380" y="2267"/>
                </a:lnTo>
                <a:lnTo>
                  <a:pt x="5385" y="2262"/>
                </a:lnTo>
                <a:lnTo>
                  <a:pt x="5396" y="2253"/>
                </a:lnTo>
                <a:lnTo>
                  <a:pt x="5408" y="2245"/>
                </a:lnTo>
                <a:lnTo>
                  <a:pt x="5414" y="2241"/>
                </a:lnTo>
                <a:lnTo>
                  <a:pt x="5421" y="2238"/>
                </a:lnTo>
                <a:lnTo>
                  <a:pt x="5427" y="2235"/>
                </a:lnTo>
                <a:lnTo>
                  <a:pt x="5434" y="2233"/>
                </a:lnTo>
                <a:lnTo>
                  <a:pt x="5448" y="2229"/>
                </a:lnTo>
                <a:lnTo>
                  <a:pt x="5463" y="2227"/>
                </a:lnTo>
                <a:lnTo>
                  <a:pt x="5478" y="2226"/>
                </a:lnTo>
                <a:close/>
                <a:moveTo>
                  <a:pt x="5492" y="2490"/>
                </a:moveTo>
                <a:lnTo>
                  <a:pt x="5502" y="2490"/>
                </a:lnTo>
                <a:lnTo>
                  <a:pt x="5507" y="2489"/>
                </a:lnTo>
                <a:lnTo>
                  <a:pt x="5512" y="2488"/>
                </a:lnTo>
                <a:lnTo>
                  <a:pt x="5521" y="2486"/>
                </a:lnTo>
                <a:lnTo>
                  <a:pt x="5530" y="2483"/>
                </a:lnTo>
                <a:lnTo>
                  <a:pt x="5538" y="2479"/>
                </a:lnTo>
                <a:lnTo>
                  <a:pt x="5545" y="2474"/>
                </a:lnTo>
                <a:lnTo>
                  <a:pt x="5552" y="2468"/>
                </a:lnTo>
                <a:lnTo>
                  <a:pt x="5559" y="2461"/>
                </a:lnTo>
                <a:lnTo>
                  <a:pt x="5564" y="2454"/>
                </a:lnTo>
                <a:lnTo>
                  <a:pt x="5569" y="2446"/>
                </a:lnTo>
                <a:lnTo>
                  <a:pt x="5574" y="2438"/>
                </a:lnTo>
                <a:lnTo>
                  <a:pt x="5577" y="2429"/>
                </a:lnTo>
                <a:lnTo>
                  <a:pt x="5580" y="2420"/>
                </a:lnTo>
                <a:lnTo>
                  <a:pt x="5582" y="2410"/>
                </a:lnTo>
                <a:lnTo>
                  <a:pt x="5584" y="2399"/>
                </a:lnTo>
                <a:lnTo>
                  <a:pt x="5584" y="2388"/>
                </a:lnTo>
                <a:lnTo>
                  <a:pt x="5584" y="2378"/>
                </a:lnTo>
                <a:lnTo>
                  <a:pt x="5582" y="2367"/>
                </a:lnTo>
                <a:lnTo>
                  <a:pt x="5580" y="2357"/>
                </a:lnTo>
                <a:lnTo>
                  <a:pt x="5579" y="2352"/>
                </a:lnTo>
                <a:lnTo>
                  <a:pt x="5577" y="2347"/>
                </a:lnTo>
                <a:lnTo>
                  <a:pt x="5574" y="2338"/>
                </a:lnTo>
                <a:lnTo>
                  <a:pt x="5572" y="2334"/>
                </a:lnTo>
                <a:lnTo>
                  <a:pt x="5569" y="2330"/>
                </a:lnTo>
                <a:lnTo>
                  <a:pt x="5564" y="2322"/>
                </a:lnTo>
                <a:lnTo>
                  <a:pt x="5559" y="2315"/>
                </a:lnTo>
                <a:lnTo>
                  <a:pt x="5552" y="2309"/>
                </a:lnTo>
                <a:lnTo>
                  <a:pt x="5545" y="2303"/>
                </a:lnTo>
                <a:lnTo>
                  <a:pt x="5538" y="2298"/>
                </a:lnTo>
                <a:lnTo>
                  <a:pt x="5534" y="2296"/>
                </a:lnTo>
                <a:lnTo>
                  <a:pt x="5530" y="2294"/>
                </a:lnTo>
                <a:lnTo>
                  <a:pt x="5521" y="2291"/>
                </a:lnTo>
                <a:lnTo>
                  <a:pt x="5512" y="2288"/>
                </a:lnTo>
                <a:lnTo>
                  <a:pt x="5507" y="2288"/>
                </a:lnTo>
                <a:lnTo>
                  <a:pt x="5502" y="2287"/>
                </a:lnTo>
                <a:lnTo>
                  <a:pt x="5492" y="2286"/>
                </a:lnTo>
                <a:lnTo>
                  <a:pt x="5482" y="2287"/>
                </a:lnTo>
                <a:lnTo>
                  <a:pt x="5477" y="2288"/>
                </a:lnTo>
                <a:lnTo>
                  <a:pt x="5472" y="2288"/>
                </a:lnTo>
                <a:lnTo>
                  <a:pt x="5463" y="2291"/>
                </a:lnTo>
                <a:lnTo>
                  <a:pt x="5454" y="2294"/>
                </a:lnTo>
                <a:lnTo>
                  <a:pt x="5446" y="2298"/>
                </a:lnTo>
                <a:lnTo>
                  <a:pt x="5439" y="2303"/>
                </a:lnTo>
                <a:lnTo>
                  <a:pt x="5432" y="2309"/>
                </a:lnTo>
                <a:lnTo>
                  <a:pt x="5425" y="2315"/>
                </a:lnTo>
                <a:lnTo>
                  <a:pt x="5419" y="2322"/>
                </a:lnTo>
                <a:lnTo>
                  <a:pt x="5414" y="2330"/>
                </a:lnTo>
                <a:lnTo>
                  <a:pt x="5410" y="2338"/>
                </a:lnTo>
                <a:lnTo>
                  <a:pt x="5406" y="2347"/>
                </a:lnTo>
                <a:lnTo>
                  <a:pt x="5403" y="2357"/>
                </a:lnTo>
                <a:lnTo>
                  <a:pt x="5401" y="2367"/>
                </a:lnTo>
                <a:lnTo>
                  <a:pt x="5400" y="2378"/>
                </a:lnTo>
                <a:lnTo>
                  <a:pt x="5399" y="2388"/>
                </a:lnTo>
                <a:lnTo>
                  <a:pt x="5400" y="2399"/>
                </a:lnTo>
                <a:lnTo>
                  <a:pt x="5401" y="2410"/>
                </a:lnTo>
                <a:lnTo>
                  <a:pt x="5402" y="2415"/>
                </a:lnTo>
                <a:lnTo>
                  <a:pt x="5403" y="2420"/>
                </a:lnTo>
                <a:lnTo>
                  <a:pt x="5404" y="2424"/>
                </a:lnTo>
                <a:lnTo>
                  <a:pt x="5406" y="2429"/>
                </a:lnTo>
                <a:lnTo>
                  <a:pt x="5410" y="2438"/>
                </a:lnTo>
                <a:lnTo>
                  <a:pt x="5412" y="2442"/>
                </a:lnTo>
                <a:lnTo>
                  <a:pt x="5414" y="2446"/>
                </a:lnTo>
                <a:lnTo>
                  <a:pt x="5417" y="2450"/>
                </a:lnTo>
                <a:lnTo>
                  <a:pt x="5419" y="2454"/>
                </a:lnTo>
                <a:lnTo>
                  <a:pt x="5425" y="2461"/>
                </a:lnTo>
                <a:lnTo>
                  <a:pt x="5432" y="2468"/>
                </a:lnTo>
                <a:lnTo>
                  <a:pt x="5439" y="2474"/>
                </a:lnTo>
                <a:lnTo>
                  <a:pt x="5446" y="2479"/>
                </a:lnTo>
                <a:lnTo>
                  <a:pt x="5454" y="2483"/>
                </a:lnTo>
                <a:lnTo>
                  <a:pt x="5463" y="2486"/>
                </a:lnTo>
                <a:lnTo>
                  <a:pt x="5472" y="2488"/>
                </a:lnTo>
                <a:lnTo>
                  <a:pt x="5477" y="2489"/>
                </a:lnTo>
                <a:lnTo>
                  <a:pt x="5482" y="2490"/>
                </a:lnTo>
                <a:lnTo>
                  <a:pt x="5492" y="2490"/>
                </a:lnTo>
                <a:close/>
                <a:moveTo>
                  <a:pt x="5938" y="2476"/>
                </a:moveTo>
                <a:lnTo>
                  <a:pt x="6015" y="2231"/>
                </a:lnTo>
                <a:lnTo>
                  <a:pt x="6080" y="2231"/>
                </a:lnTo>
                <a:lnTo>
                  <a:pt x="6156" y="2477"/>
                </a:lnTo>
                <a:lnTo>
                  <a:pt x="6214" y="2231"/>
                </a:lnTo>
                <a:lnTo>
                  <a:pt x="6278" y="2231"/>
                </a:lnTo>
                <a:lnTo>
                  <a:pt x="6197" y="2553"/>
                </a:lnTo>
                <a:lnTo>
                  <a:pt x="6124" y="2553"/>
                </a:lnTo>
                <a:lnTo>
                  <a:pt x="6047" y="2304"/>
                </a:lnTo>
                <a:lnTo>
                  <a:pt x="5971" y="2553"/>
                </a:lnTo>
                <a:lnTo>
                  <a:pt x="5895" y="2553"/>
                </a:lnTo>
                <a:lnTo>
                  <a:pt x="5816" y="2231"/>
                </a:lnTo>
                <a:lnTo>
                  <a:pt x="5881" y="2231"/>
                </a:lnTo>
                <a:lnTo>
                  <a:pt x="5938" y="2476"/>
                </a:lnTo>
                <a:close/>
                <a:moveTo>
                  <a:pt x="6458" y="2226"/>
                </a:moveTo>
                <a:lnTo>
                  <a:pt x="6475" y="2227"/>
                </a:lnTo>
                <a:lnTo>
                  <a:pt x="6483" y="2228"/>
                </a:lnTo>
                <a:lnTo>
                  <a:pt x="6487" y="2228"/>
                </a:lnTo>
                <a:lnTo>
                  <a:pt x="6491" y="2229"/>
                </a:lnTo>
                <a:lnTo>
                  <a:pt x="6499" y="2231"/>
                </a:lnTo>
                <a:lnTo>
                  <a:pt x="6507" y="2233"/>
                </a:lnTo>
                <a:lnTo>
                  <a:pt x="6522" y="2238"/>
                </a:lnTo>
                <a:lnTo>
                  <a:pt x="6529" y="2241"/>
                </a:lnTo>
                <a:lnTo>
                  <a:pt x="6536" y="2245"/>
                </a:lnTo>
                <a:lnTo>
                  <a:pt x="6549" y="2253"/>
                </a:lnTo>
                <a:lnTo>
                  <a:pt x="6561" y="2262"/>
                </a:lnTo>
                <a:lnTo>
                  <a:pt x="6567" y="2267"/>
                </a:lnTo>
                <a:lnTo>
                  <a:pt x="6572" y="2273"/>
                </a:lnTo>
                <a:lnTo>
                  <a:pt x="6578" y="2279"/>
                </a:lnTo>
                <a:lnTo>
                  <a:pt x="6582" y="2284"/>
                </a:lnTo>
                <a:lnTo>
                  <a:pt x="6587" y="2291"/>
                </a:lnTo>
                <a:lnTo>
                  <a:pt x="6591" y="2297"/>
                </a:lnTo>
                <a:lnTo>
                  <a:pt x="6595" y="2304"/>
                </a:lnTo>
                <a:lnTo>
                  <a:pt x="6599" y="2311"/>
                </a:lnTo>
                <a:lnTo>
                  <a:pt x="6603" y="2318"/>
                </a:lnTo>
                <a:lnTo>
                  <a:pt x="6606" y="2325"/>
                </a:lnTo>
                <a:lnTo>
                  <a:pt x="6608" y="2333"/>
                </a:lnTo>
                <a:lnTo>
                  <a:pt x="6611" y="2341"/>
                </a:lnTo>
                <a:lnTo>
                  <a:pt x="6613" y="2349"/>
                </a:lnTo>
                <a:lnTo>
                  <a:pt x="6615" y="2357"/>
                </a:lnTo>
                <a:lnTo>
                  <a:pt x="6616" y="2366"/>
                </a:lnTo>
                <a:lnTo>
                  <a:pt x="6617" y="2374"/>
                </a:lnTo>
                <a:lnTo>
                  <a:pt x="6617" y="2383"/>
                </a:lnTo>
                <a:lnTo>
                  <a:pt x="6618" y="2392"/>
                </a:lnTo>
                <a:lnTo>
                  <a:pt x="6617" y="2401"/>
                </a:lnTo>
                <a:lnTo>
                  <a:pt x="6617" y="2410"/>
                </a:lnTo>
                <a:lnTo>
                  <a:pt x="6616" y="2418"/>
                </a:lnTo>
                <a:lnTo>
                  <a:pt x="6615" y="2427"/>
                </a:lnTo>
                <a:lnTo>
                  <a:pt x="6613" y="2435"/>
                </a:lnTo>
                <a:lnTo>
                  <a:pt x="6611" y="2443"/>
                </a:lnTo>
                <a:lnTo>
                  <a:pt x="6608" y="2451"/>
                </a:lnTo>
                <a:lnTo>
                  <a:pt x="6606" y="2458"/>
                </a:lnTo>
                <a:lnTo>
                  <a:pt x="6603" y="2466"/>
                </a:lnTo>
                <a:lnTo>
                  <a:pt x="6599" y="2473"/>
                </a:lnTo>
                <a:lnTo>
                  <a:pt x="6591" y="2487"/>
                </a:lnTo>
                <a:lnTo>
                  <a:pt x="6587" y="2493"/>
                </a:lnTo>
                <a:lnTo>
                  <a:pt x="6582" y="2499"/>
                </a:lnTo>
                <a:lnTo>
                  <a:pt x="6572" y="2511"/>
                </a:lnTo>
                <a:lnTo>
                  <a:pt x="6567" y="2516"/>
                </a:lnTo>
                <a:lnTo>
                  <a:pt x="6561" y="2521"/>
                </a:lnTo>
                <a:lnTo>
                  <a:pt x="6555" y="2526"/>
                </a:lnTo>
                <a:lnTo>
                  <a:pt x="6549" y="2531"/>
                </a:lnTo>
                <a:lnTo>
                  <a:pt x="6542" y="2535"/>
                </a:lnTo>
                <a:lnTo>
                  <a:pt x="6536" y="2539"/>
                </a:lnTo>
                <a:lnTo>
                  <a:pt x="6529" y="2542"/>
                </a:lnTo>
                <a:lnTo>
                  <a:pt x="6522" y="2546"/>
                </a:lnTo>
                <a:lnTo>
                  <a:pt x="6514" y="2548"/>
                </a:lnTo>
                <a:lnTo>
                  <a:pt x="6507" y="2551"/>
                </a:lnTo>
                <a:lnTo>
                  <a:pt x="6491" y="2555"/>
                </a:lnTo>
                <a:lnTo>
                  <a:pt x="6475" y="2557"/>
                </a:lnTo>
                <a:lnTo>
                  <a:pt x="6458" y="2558"/>
                </a:lnTo>
                <a:lnTo>
                  <a:pt x="6441" y="2557"/>
                </a:lnTo>
                <a:lnTo>
                  <a:pt x="6433" y="2556"/>
                </a:lnTo>
                <a:lnTo>
                  <a:pt x="6429" y="2556"/>
                </a:lnTo>
                <a:lnTo>
                  <a:pt x="6425" y="2555"/>
                </a:lnTo>
                <a:lnTo>
                  <a:pt x="6417" y="2553"/>
                </a:lnTo>
                <a:lnTo>
                  <a:pt x="6409" y="2551"/>
                </a:lnTo>
                <a:lnTo>
                  <a:pt x="6401" y="2548"/>
                </a:lnTo>
                <a:lnTo>
                  <a:pt x="6394" y="2546"/>
                </a:lnTo>
                <a:lnTo>
                  <a:pt x="6387" y="2542"/>
                </a:lnTo>
                <a:lnTo>
                  <a:pt x="6380" y="2539"/>
                </a:lnTo>
                <a:lnTo>
                  <a:pt x="6367" y="2531"/>
                </a:lnTo>
                <a:lnTo>
                  <a:pt x="6355" y="2521"/>
                </a:lnTo>
                <a:lnTo>
                  <a:pt x="6349" y="2516"/>
                </a:lnTo>
                <a:lnTo>
                  <a:pt x="6344" y="2511"/>
                </a:lnTo>
                <a:lnTo>
                  <a:pt x="6339" y="2505"/>
                </a:lnTo>
                <a:lnTo>
                  <a:pt x="6334" y="2499"/>
                </a:lnTo>
                <a:lnTo>
                  <a:pt x="6331" y="2496"/>
                </a:lnTo>
                <a:lnTo>
                  <a:pt x="6329" y="2493"/>
                </a:lnTo>
                <a:lnTo>
                  <a:pt x="6325" y="2487"/>
                </a:lnTo>
                <a:lnTo>
                  <a:pt x="6317" y="2473"/>
                </a:lnTo>
                <a:lnTo>
                  <a:pt x="6309" y="2458"/>
                </a:lnTo>
                <a:lnTo>
                  <a:pt x="6307" y="2451"/>
                </a:lnTo>
                <a:lnTo>
                  <a:pt x="6304" y="2443"/>
                </a:lnTo>
                <a:lnTo>
                  <a:pt x="6302" y="2435"/>
                </a:lnTo>
                <a:lnTo>
                  <a:pt x="6301" y="2427"/>
                </a:lnTo>
                <a:lnTo>
                  <a:pt x="6299" y="2418"/>
                </a:lnTo>
                <a:lnTo>
                  <a:pt x="6298" y="2410"/>
                </a:lnTo>
                <a:lnTo>
                  <a:pt x="6298" y="2401"/>
                </a:lnTo>
                <a:lnTo>
                  <a:pt x="6297" y="2392"/>
                </a:lnTo>
                <a:lnTo>
                  <a:pt x="6298" y="2383"/>
                </a:lnTo>
                <a:lnTo>
                  <a:pt x="6298" y="2374"/>
                </a:lnTo>
                <a:lnTo>
                  <a:pt x="6299" y="2366"/>
                </a:lnTo>
                <a:lnTo>
                  <a:pt x="6301" y="2357"/>
                </a:lnTo>
                <a:lnTo>
                  <a:pt x="6302" y="2349"/>
                </a:lnTo>
                <a:lnTo>
                  <a:pt x="6304" y="2341"/>
                </a:lnTo>
                <a:lnTo>
                  <a:pt x="6307" y="2333"/>
                </a:lnTo>
                <a:lnTo>
                  <a:pt x="6309" y="2325"/>
                </a:lnTo>
                <a:lnTo>
                  <a:pt x="6314" y="2318"/>
                </a:lnTo>
                <a:lnTo>
                  <a:pt x="6317" y="2311"/>
                </a:lnTo>
                <a:lnTo>
                  <a:pt x="6321" y="2304"/>
                </a:lnTo>
                <a:lnTo>
                  <a:pt x="6325" y="2297"/>
                </a:lnTo>
                <a:lnTo>
                  <a:pt x="6329" y="2291"/>
                </a:lnTo>
                <a:lnTo>
                  <a:pt x="6334" y="2284"/>
                </a:lnTo>
                <a:lnTo>
                  <a:pt x="6344" y="2273"/>
                </a:lnTo>
                <a:lnTo>
                  <a:pt x="6349" y="2267"/>
                </a:lnTo>
                <a:lnTo>
                  <a:pt x="6355" y="2262"/>
                </a:lnTo>
                <a:lnTo>
                  <a:pt x="6361" y="2258"/>
                </a:lnTo>
                <a:lnTo>
                  <a:pt x="6367" y="2253"/>
                </a:lnTo>
                <a:lnTo>
                  <a:pt x="6373" y="2249"/>
                </a:lnTo>
                <a:lnTo>
                  <a:pt x="6380" y="2245"/>
                </a:lnTo>
                <a:lnTo>
                  <a:pt x="6387" y="2241"/>
                </a:lnTo>
                <a:lnTo>
                  <a:pt x="6394" y="2238"/>
                </a:lnTo>
                <a:lnTo>
                  <a:pt x="6401" y="2235"/>
                </a:lnTo>
                <a:lnTo>
                  <a:pt x="6409" y="2233"/>
                </a:lnTo>
                <a:lnTo>
                  <a:pt x="6425" y="2229"/>
                </a:lnTo>
                <a:lnTo>
                  <a:pt x="6441" y="2227"/>
                </a:lnTo>
                <a:lnTo>
                  <a:pt x="6458" y="2226"/>
                </a:lnTo>
                <a:close/>
                <a:moveTo>
                  <a:pt x="6458" y="2497"/>
                </a:moveTo>
                <a:lnTo>
                  <a:pt x="6468" y="2497"/>
                </a:lnTo>
                <a:lnTo>
                  <a:pt x="6478" y="2495"/>
                </a:lnTo>
                <a:lnTo>
                  <a:pt x="6487" y="2493"/>
                </a:lnTo>
                <a:lnTo>
                  <a:pt x="6496" y="2490"/>
                </a:lnTo>
                <a:lnTo>
                  <a:pt x="6504" y="2485"/>
                </a:lnTo>
                <a:lnTo>
                  <a:pt x="6512" y="2480"/>
                </a:lnTo>
                <a:lnTo>
                  <a:pt x="6519" y="2474"/>
                </a:lnTo>
                <a:lnTo>
                  <a:pt x="6526" y="2468"/>
                </a:lnTo>
                <a:lnTo>
                  <a:pt x="6531" y="2461"/>
                </a:lnTo>
                <a:lnTo>
                  <a:pt x="6537" y="2453"/>
                </a:lnTo>
                <a:lnTo>
                  <a:pt x="6541" y="2444"/>
                </a:lnTo>
                <a:lnTo>
                  <a:pt x="6545" y="2435"/>
                </a:lnTo>
                <a:lnTo>
                  <a:pt x="6548" y="2425"/>
                </a:lnTo>
                <a:lnTo>
                  <a:pt x="6550" y="2414"/>
                </a:lnTo>
                <a:lnTo>
                  <a:pt x="6551" y="2403"/>
                </a:lnTo>
                <a:lnTo>
                  <a:pt x="6551" y="2392"/>
                </a:lnTo>
                <a:lnTo>
                  <a:pt x="6551" y="2380"/>
                </a:lnTo>
                <a:lnTo>
                  <a:pt x="6550" y="2370"/>
                </a:lnTo>
                <a:lnTo>
                  <a:pt x="6548" y="2359"/>
                </a:lnTo>
                <a:lnTo>
                  <a:pt x="6546" y="2354"/>
                </a:lnTo>
                <a:lnTo>
                  <a:pt x="6545" y="2349"/>
                </a:lnTo>
                <a:lnTo>
                  <a:pt x="6543" y="2344"/>
                </a:lnTo>
                <a:lnTo>
                  <a:pt x="6541" y="2340"/>
                </a:lnTo>
                <a:lnTo>
                  <a:pt x="6539" y="2335"/>
                </a:lnTo>
                <a:lnTo>
                  <a:pt x="6537" y="2331"/>
                </a:lnTo>
                <a:lnTo>
                  <a:pt x="6534" y="2327"/>
                </a:lnTo>
                <a:lnTo>
                  <a:pt x="6531" y="2323"/>
                </a:lnTo>
                <a:lnTo>
                  <a:pt x="6526" y="2316"/>
                </a:lnTo>
                <a:lnTo>
                  <a:pt x="6519" y="2309"/>
                </a:lnTo>
                <a:lnTo>
                  <a:pt x="6512" y="2303"/>
                </a:lnTo>
                <a:lnTo>
                  <a:pt x="6504" y="2298"/>
                </a:lnTo>
                <a:lnTo>
                  <a:pt x="6496" y="2294"/>
                </a:lnTo>
                <a:lnTo>
                  <a:pt x="6492" y="2292"/>
                </a:lnTo>
                <a:lnTo>
                  <a:pt x="6487" y="2291"/>
                </a:lnTo>
                <a:lnTo>
                  <a:pt x="6478" y="2288"/>
                </a:lnTo>
                <a:lnTo>
                  <a:pt x="6468" y="2287"/>
                </a:lnTo>
                <a:lnTo>
                  <a:pt x="6458" y="2286"/>
                </a:lnTo>
                <a:lnTo>
                  <a:pt x="6448" y="2287"/>
                </a:lnTo>
                <a:lnTo>
                  <a:pt x="6438" y="2288"/>
                </a:lnTo>
                <a:lnTo>
                  <a:pt x="6429" y="2291"/>
                </a:lnTo>
                <a:lnTo>
                  <a:pt x="6420" y="2294"/>
                </a:lnTo>
                <a:lnTo>
                  <a:pt x="6412" y="2298"/>
                </a:lnTo>
                <a:lnTo>
                  <a:pt x="6404" y="2303"/>
                </a:lnTo>
                <a:lnTo>
                  <a:pt x="6397" y="2309"/>
                </a:lnTo>
                <a:lnTo>
                  <a:pt x="6390" y="2316"/>
                </a:lnTo>
                <a:lnTo>
                  <a:pt x="6384" y="2323"/>
                </a:lnTo>
                <a:lnTo>
                  <a:pt x="6379" y="2331"/>
                </a:lnTo>
                <a:lnTo>
                  <a:pt x="6375" y="2340"/>
                </a:lnTo>
                <a:lnTo>
                  <a:pt x="6371" y="2349"/>
                </a:lnTo>
                <a:lnTo>
                  <a:pt x="6368" y="2359"/>
                </a:lnTo>
                <a:lnTo>
                  <a:pt x="6366" y="2370"/>
                </a:lnTo>
                <a:lnTo>
                  <a:pt x="6364" y="2380"/>
                </a:lnTo>
                <a:lnTo>
                  <a:pt x="6364" y="2392"/>
                </a:lnTo>
                <a:lnTo>
                  <a:pt x="6364" y="2403"/>
                </a:lnTo>
                <a:lnTo>
                  <a:pt x="6366" y="2414"/>
                </a:lnTo>
                <a:lnTo>
                  <a:pt x="6368" y="2425"/>
                </a:lnTo>
                <a:lnTo>
                  <a:pt x="6369" y="2430"/>
                </a:lnTo>
                <a:lnTo>
                  <a:pt x="6371" y="2435"/>
                </a:lnTo>
                <a:lnTo>
                  <a:pt x="6373" y="2439"/>
                </a:lnTo>
                <a:lnTo>
                  <a:pt x="6375" y="2444"/>
                </a:lnTo>
                <a:lnTo>
                  <a:pt x="6377" y="2448"/>
                </a:lnTo>
                <a:lnTo>
                  <a:pt x="6379" y="2453"/>
                </a:lnTo>
                <a:lnTo>
                  <a:pt x="6382" y="2457"/>
                </a:lnTo>
                <a:lnTo>
                  <a:pt x="6384" y="2461"/>
                </a:lnTo>
                <a:lnTo>
                  <a:pt x="6387" y="2464"/>
                </a:lnTo>
                <a:lnTo>
                  <a:pt x="6390" y="2468"/>
                </a:lnTo>
                <a:lnTo>
                  <a:pt x="6397" y="2474"/>
                </a:lnTo>
                <a:lnTo>
                  <a:pt x="6404" y="2480"/>
                </a:lnTo>
                <a:lnTo>
                  <a:pt x="6412" y="2485"/>
                </a:lnTo>
                <a:lnTo>
                  <a:pt x="6420" y="2490"/>
                </a:lnTo>
                <a:lnTo>
                  <a:pt x="6424" y="2491"/>
                </a:lnTo>
                <a:lnTo>
                  <a:pt x="6429" y="2493"/>
                </a:lnTo>
                <a:lnTo>
                  <a:pt x="6438" y="2495"/>
                </a:lnTo>
                <a:lnTo>
                  <a:pt x="6448" y="2497"/>
                </a:lnTo>
                <a:lnTo>
                  <a:pt x="6458" y="2497"/>
                </a:lnTo>
                <a:close/>
                <a:moveTo>
                  <a:pt x="6737" y="2231"/>
                </a:moveTo>
                <a:lnTo>
                  <a:pt x="6737" y="2300"/>
                </a:lnTo>
                <a:lnTo>
                  <a:pt x="6739" y="2291"/>
                </a:lnTo>
                <a:lnTo>
                  <a:pt x="6742" y="2282"/>
                </a:lnTo>
                <a:lnTo>
                  <a:pt x="6746" y="2274"/>
                </a:lnTo>
                <a:lnTo>
                  <a:pt x="6750" y="2267"/>
                </a:lnTo>
                <a:lnTo>
                  <a:pt x="6754" y="2261"/>
                </a:lnTo>
                <a:lnTo>
                  <a:pt x="6759" y="2255"/>
                </a:lnTo>
                <a:lnTo>
                  <a:pt x="6764" y="2250"/>
                </a:lnTo>
                <a:lnTo>
                  <a:pt x="6770" y="2246"/>
                </a:lnTo>
                <a:lnTo>
                  <a:pt x="6776" y="2242"/>
                </a:lnTo>
                <a:lnTo>
                  <a:pt x="6782" y="2239"/>
                </a:lnTo>
                <a:lnTo>
                  <a:pt x="6788" y="2237"/>
                </a:lnTo>
                <a:lnTo>
                  <a:pt x="6794" y="2235"/>
                </a:lnTo>
                <a:lnTo>
                  <a:pt x="6801" y="2233"/>
                </a:lnTo>
                <a:lnTo>
                  <a:pt x="6808" y="2232"/>
                </a:lnTo>
                <a:lnTo>
                  <a:pt x="6821" y="2231"/>
                </a:lnTo>
                <a:lnTo>
                  <a:pt x="6859" y="2231"/>
                </a:lnTo>
                <a:lnTo>
                  <a:pt x="6859" y="2296"/>
                </a:lnTo>
                <a:lnTo>
                  <a:pt x="6808" y="2296"/>
                </a:lnTo>
                <a:lnTo>
                  <a:pt x="6801" y="2296"/>
                </a:lnTo>
                <a:lnTo>
                  <a:pt x="6794" y="2298"/>
                </a:lnTo>
                <a:lnTo>
                  <a:pt x="6787" y="2299"/>
                </a:lnTo>
                <a:lnTo>
                  <a:pt x="6781" y="2302"/>
                </a:lnTo>
                <a:lnTo>
                  <a:pt x="6775" y="2306"/>
                </a:lnTo>
                <a:lnTo>
                  <a:pt x="6769" y="2310"/>
                </a:lnTo>
                <a:lnTo>
                  <a:pt x="6763" y="2315"/>
                </a:lnTo>
                <a:lnTo>
                  <a:pt x="6758" y="2321"/>
                </a:lnTo>
                <a:lnTo>
                  <a:pt x="6753" y="2327"/>
                </a:lnTo>
                <a:lnTo>
                  <a:pt x="6749" y="2334"/>
                </a:lnTo>
                <a:lnTo>
                  <a:pt x="6745" y="2342"/>
                </a:lnTo>
                <a:lnTo>
                  <a:pt x="6742" y="2351"/>
                </a:lnTo>
                <a:lnTo>
                  <a:pt x="6740" y="2361"/>
                </a:lnTo>
                <a:lnTo>
                  <a:pt x="6738" y="2371"/>
                </a:lnTo>
                <a:lnTo>
                  <a:pt x="6737" y="2383"/>
                </a:lnTo>
                <a:lnTo>
                  <a:pt x="6737" y="2395"/>
                </a:lnTo>
                <a:lnTo>
                  <a:pt x="6737" y="2553"/>
                </a:lnTo>
                <a:lnTo>
                  <a:pt x="6670" y="2553"/>
                </a:lnTo>
                <a:lnTo>
                  <a:pt x="6670" y="2231"/>
                </a:lnTo>
                <a:lnTo>
                  <a:pt x="6737" y="2231"/>
                </a:lnTo>
                <a:close/>
                <a:moveTo>
                  <a:pt x="6963" y="2091"/>
                </a:moveTo>
                <a:lnTo>
                  <a:pt x="6963" y="2553"/>
                </a:lnTo>
                <a:lnTo>
                  <a:pt x="6898" y="2553"/>
                </a:lnTo>
                <a:lnTo>
                  <a:pt x="6898" y="2091"/>
                </a:lnTo>
                <a:lnTo>
                  <a:pt x="6963" y="2091"/>
                </a:lnTo>
                <a:close/>
                <a:moveTo>
                  <a:pt x="7328" y="2091"/>
                </a:moveTo>
                <a:lnTo>
                  <a:pt x="7328" y="2553"/>
                </a:lnTo>
                <a:lnTo>
                  <a:pt x="7262" y="2553"/>
                </a:lnTo>
                <a:lnTo>
                  <a:pt x="7262" y="2506"/>
                </a:lnTo>
                <a:lnTo>
                  <a:pt x="7259" y="2512"/>
                </a:lnTo>
                <a:lnTo>
                  <a:pt x="7255" y="2517"/>
                </a:lnTo>
                <a:lnTo>
                  <a:pt x="7250" y="2522"/>
                </a:lnTo>
                <a:lnTo>
                  <a:pt x="7245" y="2527"/>
                </a:lnTo>
                <a:lnTo>
                  <a:pt x="7240" y="2532"/>
                </a:lnTo>
                <a:lnTo>
                  <a:pt x="7234" y="2536"/>
                </a:lnTo>
                <a:lnTo>
                  <a:pt x="7228" y="2540"/>
                </a:lnTo>
                <a:lnTo>
                  <a:pt x="7221" y="2544"/>
                </a:lnTo>
                <a:lnTo>
                  <a:pt x="7215" y="2547"/>
                </a:lnTo>
                <a:lnTo>
                  <a:pt x="7207" y="2550"/>
                </a:lnTo>
                <a:lnTo>
                  <a:pt x="7200" y="2552"/>
                </a:lnTo>
                <a:lnTo>
                  <a:pt x="7192" y="2554"/>
                </a:lnTo>
                <a:lnTo>
                  <a:pt x="7185" y="2556"/>
                </a:lnTo>
                <a:lnTo>
                  <a:pt x="7177" y="2557"/>
                </a:lnTo>
                <a:lnTo>
                  <a:pt x="7169" y="2558"/>
                </a:lnTo>
                <a:lnTo>
                  <a:pt x="7161" y="2558"/>
                </a:lnTo>
                <a:lnTo>
                  <a:pt x="7146" y="2557"/>
                </a:lnTo>
                <a:lnTo>
                  <a:pt x="7138" y="2556"/>
                </a:lnTo>
                <a:lnTo>
                  <a:pt x="7131" y="2555"/>
                </a:lnTo>
                <a:lnTo>
                  <a:pt x="7123" y="2553"/>
                </a:lnTo>
                <a:lnTo>
                  <a:pt x="7116" y="2551"/>
                </a:lnTo>
                <a:lnTo>
                  <a:pt x="7109" y="2548"/>
                </a:lnTo>
                <a:lnTo>
                  <a:pt x="7102" y="2545"/>
                </a:lnTo>
                <a:lnTo>
                  <a:pt x="7090" y="2539"/>
                </a:lnTo>
                <a:lnTo>
                  <a:pt x="7078" y="2530"/>
                </a:lnTo>
                <a:lnTo>
                  <a:pt x="7072" y="2526"/>
                </a:lnTo>
                <a:lnTo>
                  <a:pt x="7067" y="2521"/>
                </a:lnTo>
                <a:lnTo>
                  <a:pt x="7061" y="2516"/>
                </a:lnTo>
                <a:lnTo>
                  <a:pt x="7056" y="2510"/>
                </a:lnTo>
                <a:lnTo>
                  <a:pt x="7047" y="2499"/>
                </a:lnTo>
                <a:lnTo>
                  <a:pt x="7043" y="2492"/>
                </a:lnTo>
                <a:lnTo>
                  <a:pt x="7039" y="2486"/>
                </a:lnTo>
                <a:lnTo>
                  <a:pt x="7035" y="2479"/>
                </a:lnTo>
                <a:lnTo>
                  <a:pt x="7032" y="2472"/>
                </a:lnTo>
                <a:lnTo>
                  <a:pt x="7029" y="2465"/>
                </a:lnTo>
                <a:lnTo>
                  <a:pt x="7026" y="2458"/>
                </a:lnTo>
                <a:lnTo>
                  <a:pt x="7021" y="2442"/>
                </a:lnTo>
                <a:lnTo>
                  <a:pt x="7018" y="2426"/>
                </a:lnTo>
                <a:lnTo>
                  <a:pt x="7017" y="2418"/>
                </a:lnTo>
                <a:lnTo>
                  <a:pt x="7016" y="2409"/>
                </a:lnTo>
                <a:lnTo>
                  <a:pt x="7015" y="2401"/>
                </a:lnTo>
                <a:lnTo>
                  <a:pt x="7015" y="2392"/>
                </a:lnTo>
                <a:lnTo>
                  <a:pt x="7015" y="2383"/>
                </a:lnTo>
                <a:lnTo>
                  <a:pt x="7016" y="2374"/>
                </a:lnTo>
                <a:lnTo>
                  <a:pt x="7018" y="2358"/>
                </a:lnTo>
                <a:lnTo>
                  <a:pt x="7020" y="2349"/>
                </a:lnTo>
                <a:lnTo>
                  <a:pt x="7021" y="2341"/>
                </a:lnTo>
                <a:lnTo>
                  <a:pt x="7024" y="2334"/>
                </a:lnTo>
                <a:lnTo>
                  <a:pt x="7026" y="2326"/>
                </a:lnTo>
                <a:lnTo>
                  <a:pt x="7029" y="2319"/>
                </a:lnTo>
                <a:lnTo>
                  <a:pt x="7032" y="2311"/>
                </a:lnTo>
                <a:lnTo>
                  <a:pt x="7039" y="2298"/>
                </a:lnTo>
                <a:lnTo>
                  <a:pt x="7043" y="2291"/>
                </a:lnTo>
                <a:lnTo>
                  <a:pt x="7047" y="2285"/>
                </a:lnTo>
                <a:lnTo>
                  <a:pt x="7056" y="2273"/>
                </a:lnTo>
                <a:lnTo>
                  <a:pt x="7061" y="2268"/>
                </a:lnTo>
                <a:lnTo>
                  <a:pt x="7067" y="2263"/>
                </a:lnTo>
                <a:lnTo>
                  <a:pt x="7078" y="2253"/>
                </a:lnTo>
                <a:lnTo>
                  <a:pt x="7084" y="2249"/>
                </a:lnTo>
                <a:lnTo>
                  <a:pt x="7090" y="2245"/>
                </a:lnTo>
                <a:lnTo>
                  <a:pt x="7096" y="2242"/>
                </a:lnTo>
                <a:lnTo>
                  <a:pt x="7102" y="2238"/>
                </a:lnTo>
                <a:lnTo>
                  <a:pt x="7116" y="2233"/>
                </a:lnTo>
                <a:lnTo>
                  <a:pt x="7123" y="2231"/>
                </a:lnTo>
                <a:lnTo>
                  <a:pt x="7131" y="2229"/>
                </a:lnTo>
                <a:lnTo>
                  <a:pt x="7138" y="2228"/>
                </a:lnTo>
                <a:lnTo>
                  <a:pt x="7146" y="2227"/>
                </a:lnTo>
                <a:lnTo>
                  <a:pt x="7161" y="2226"/>
                </a:lnTo>
                <a:lnTo>
                  <a:pt x="7169" y="2226"/>
                </a:lnTo>
                <a:lnTo>
                  <a:pt x="7177" y="2227"/>
                </a:lnTo>
                <a:lnTo>
                  <a:pt x="7185" y="2228"/>
                </a:lnTo>
                <a:lnTo>
                  <a:pt x="7192" y="2230"/>
                </a:lnTo>
                <a:lnTo>
                  <a:pt x="7207" y="2234"/>
                </a:lnTo>
                <a:lnTo>
                  <a:pt x="7215" y="2237"/>
                </a:lnTo>
                <a:lnTo>
                  <a:pt x="7221" y="2240"/>
                </a:lnTo>
                <a:lnTo>
                  <a:pt x="7228" y="2244"/>
                </a:lnTo>
                <a:lnTo>
                  <a:pt x="7234" y="2248"/>
                </a:lnTo>
                <a:lnTo>
                  <a:pt x="7240" y="2252"/>
                </a:lnTo>
                <a:lnTo>
                  <a:pt x="7245" y="2257"/>
                </a:lnTo>
                <a:lnTo>
                  <a:pt x="7250" y="2261"/>
                </a:lnTo>
                <a:lnTo>
                  <a:pt x="7255" y="2266"/>
                </a:lnTo>
                <a:lnTo>
                  <a:pt x="7259" y="2272"/>
                </a:lnTo>
                <a:lnTo>
                  <a:pt x="7262" y="2277"/>
                </a:lnTo>
                <a:lnTo>
                  <a:pt x="7262" y="2091"/>
                </a:lnTo>
                <a:lnTo>
                  <a:pt x="7328" y="2091"/>
                </a:lnTo>
                <a:close/>
                <a:moveTo>
                  <a:pt x="7175" y="2286"/>
                </a:moveTo>
                <a:lnTo>
                  <a:pt x="7165" y="2287"/>
                </a:lnTo>
                <a:lnTo>
                  <a:pt x="7160" y="2288"/>
                </a:lnTo>
                <a:lnTo>
                  <a:pt x="7155" y="2288"/>
                </a:lnTo>
                <a:lnTo>
                  <a:pt x="7146" y="2291"/>
                </a:lnTo>
                <a:lnTo>
                  <a:pt x="7137" y="2294"/>
                </a:lnTo>
                <a:lnTo>
                  <a:pt x="7129" y="2298"/>
                </a:lnTo>
                <a:lnTo>
                  <a:pt x="7121" y="2303"/>
                </a:lnTo>
                <a:lnTo>
                  <a:pt x="7114" y="2309"/>
                </a:lnTo>
                <a:lnTo>
                  <a:pt x="7107" y="2316"/>
                </a:lnTo>
                <a:lnTo>
                  <a:pt x="7101" y="2323"/>
                </a:lnTo>
                <a:lnTo>
                  <a:pt x="7096" y="2331"/>
                </a:lnTo>
                <a:lnTo>
                  <a:pt x="7091" y="2340"/>
                </a:lnTo>
                <a:lnTo>
                  <a:pt x="7089" y="2344"/>
                </a:lnTo>
                <a:lnTo>
                  <a:pt x="7088" y="2349"/>
                </a:lnTo>
                <a:lnTo>
                  <a:pt x="7086" y="2354"/>
                </a:lnTo>
                <a:lnTo>
                  <a:pt x="7085" y="2359"/>
                </a:lnTo>
                <a:lnTo>
                  <a:pt x="7082" y="2370"/>
                </a:lnTo>
                <a:lnTo>
                  <a:pt x="7081" y="2380"/>
                </a:lnTo>
                <a:lnTo>
                  <a:pt x="7081" y="2392"/>
                </a:lnTo>
                <a:lnTo>
                  <a:pt x="7081" y="2403"/>
                </a:lnTo>
                <a:lnTo>
                  <a:pt x="7082" y="2414"/>
                </a:lnTo>
                <a:lnTo>
                  <a:pt x="7085" y="2425"/>
                </a:lnTo>
                <a:lnTo>
                  <a:pt x="7086" y="2430"/>
                </a:lnTo>
                <a:lnTo>
                  <a:pt x="7088" y="2435"/>
                </a:lnTo>
                <a:lnTo>
                  <a:pt x="7091" y="2444"/>
                </a:lnTo>
                <a:lnTo>
                  <a:pt x="7096" y="2453"/>
                </a:lnTo>
                <a:lnTo>
                  <a:pt x="7098" y="2457"/>
                </a:lnTo>
                <a:lnTo>
                  <a:pt x="7101" y="2461"/>
                </a:lnTo>
                <a:lnTo>
                  <a:pt x="7104" y="2464"/>
                </a:lnTo>
                <a:lnTo>
                  <a:pt x="7107" y="2468"/>
                </a:lnTo>
                <a:lnTo>
                  <a:pt x="7114" y="2474"/>
                </a:lnTo>
                <a:lnTo>
                  <a:pt x="7121" y="2480"/>
                </a:lnTo>
                <a:lnTo>
                  <a:pt x="7129" y="2485"/>
                </a:lnTo>
                <a:lnTo>
                  <a:pt x="7137" y="2490"/>
                </a:lnTo>
                <a:lnTo>
                  <a:pt x="7142" y="2491"/>
                </a:lnTo>
                <a:lnTo>
                  <a:pt x="7146" y="2493"/>
                </a:lnTo>
                <a:lnTo>
                  <a:pt x="7155" y="2495"/>
                </a:lnTo>
                <a:lnTo>
                  <a:pt x="7160" y="2496"/>
                </a:lnTo>
                <a:lnTo>
                  <a:pt x="7165" y="2497"/>
                </a:lnTo>
                <a:lnTo>
                  <a:pt x="7175" y="2497"/>
                </a:lnTo>
                <a:lnTo>
                  <a:pt x="7185" y="2497"/>
                </a:lnTo>
                <a:lnTo>
                  <a:pt x="7189" y="2496"/>
                </a:lnTo>
                <a:lnTo>
                  <a:pt x="7194" y="2495"/>
                </a:lnTo>
                <a:lnTo>
                  <a:pt x="7203" y="2493"/>
                </a:lnTo>
                <a:lnTo>
                  <a:pt x="7212" y="2490"/>
                </a:lnTo>
                <a:lnTo>
                  <a:pt x="7220" y="2485"/>
                </a:lnTo>
                <a:lnTo>
                  <a:pt x="7228" y="2480"/>
                </a:lnTo>
                <a:lnTo>
                  <a:pt x="7235" y="2474"/>
                </a:lnTo>
                <a:lnTo>
                  <a:pt x="7241" y="2468"/>
                </a:lnTo>
                <a:lnTo>
                  <a:pt x="7247" y="2461"/>
                </a:lnTo>
                <a:lnTo>
                  <a:pt x="7253" y="2453"/>
                </a:lnTo>
                <a:lnTo>
                  <a:pt x="7257" y="2444"/>
                </a:lnTo>
                <a:lnTo>
                  <a:pt x="7259" y="2439"/>
                </a:lnTo>
                <a:lnTo>
                  <a:pt x="7261" y="2435"/>
                </a:lnTo>
                <a:lnTo>
                  <a:pt x="7262" y="2430"/>
                </a:lnTo>
                <a:lnTo>
                  <a:pt x="7264" y="2425"/>
                </a:lnTo>
                <a:lnTo>
                  <a:pt x="7266" y="2414"/>
                </a:lnTo>
                <a:lnTo>
                  <a:pt x="7267" y="2403"/>
                </a:lnTo>
                <a:lnTo>
                  <a:pt x="7268" y="2392"/>
                </a:lnTo>
                <a:lnTo>
                  <a:pt x="7267" y="2380"/>
                </a:lnTo>
                <a:lnTo>
                  <a:pt x="7266" y="2370"/>
                </a:lnTo>
                <a:lnTo>
                  <a:pt x="7264" y="2359"/>
                </a:lnTo>
                <a:lnTo>
                  <a:pt x="7262" y="2354"/>
                </a:lnTo>
                <a:lnTo>
                  <a:pt x="7261" y="2349"/>
                </a:lnTo>
                <a:lnTo>
                  <a:pt x="7257" y="2340"/>
                </a:lnTo>
                <a:lnTo>
                  <a:pt x="7253" y="2331"/>
                </a:lnTo>
                <a:lnTo>
                  <a:pt x="7250" y="2327"/>
                </a:lnTo>
                <a:lnTo>
                  <a:pt x="7247" y="2323"/>
                </a:lnTo>
                <a:lnTo>
                  <a:pt x="7244" y="2319"/>
                </a:lnTo>
                <a:lnTo>
                  <a:pt x="7241" y="2316"/>
                </a:lnTo>
                <a:lnTo>
                  <a:pt x="7235" y="2309"/>
                </a:lnTo>
                <a:lnTo>
                  <a:pt x="7228" y="2303"/>
                </a:lnTo>
                <a:lnTo>
                  <a:pt x="7220" y="2298"/>
                </a:lnTo>
                <a:lnTo>
                  <a:pt x="7212" y="2294"/>
                </a:lnTo>
                <a:lnTo>
                  <a:pt x="7208" y="2292"/>
                </a:lnTo>
                <a:lnTo>
                  <a:pt x="7203" y="2291"/>
                </a:lnTo>
                <a:lnTo>
                  <a:pt x="7194" y="2288"/>
                </a:lnTo>
                <a:lnTo>
                  <a:pt x="7189" y="2288"/>
                </a:lnTo>
                <a:lnTo>
                  <a:pt x="7185" y="2287"/>
                </a:lnTo>
                <a:lnTo>
                  <a:pt x="7175" y="2286"/>
                </a:lnTo>
                <a:close/>
                <a:moveTo>
                  <a:pt x="475" y="1057"/>
                </a:moveTo>
                <a:lnTo>
                  <a:pt x="469" y="1046"/>
                </a:lnTo>
                <a:lnTo>
                  <a:pt x="463" y="1035"/>
                </a:lnTo>
                <a:lnTo>
                  <a:pt x="452" y="1012"/>
                </a:lnTo>
                <a:lnTo>
                  <a:pt x="447" y="1001"/>
                </a:lnTo>
                <a:lnTo>
                  <a:pt x="443" y="989"/>
                </a:lnTo>
                <a:lnTo>
                  <a:pt x="434" y="966"/>
                </a:lnTo>
                <a:lnTo>
                  <a:pt x="427" y="942"/>
                </a:lnTo>
                <a:lnTo>
                  <a:pt x="421" y="919"/>
                </a:lnTo>
                <a:lnTo>
                  <a:pt x="419" y="906"/>
                </a:lnTo>
                <a:lnTo>
                  <a:pt x="416" y="894"/>
                </a:lnTo>
                <a:lnTo>
                  <a:pt x="414" y="882"/>
                </a:lnTo>
                <a:lnTo>
                  <a:pt x="413" y="870"/>
                </a:lnTo>
                <a:lnTo>
                  <a:pt x="410" y="845"/>
                </a:lnTo>
                <a:lnTo>
                  <a:pt x="409" y="821"/>
                </a:lnTo>
                <a:lnTo>
                  <a:pt x="409" y="796"/>
                </a:lnTo>
                <a:lnTo>
                  <a:pt x="410" y="771"/>
                </a:lnTo>
                <a:lnTo>
                  <a:pt x="411" y="759"/>
                </a:lnTo>
                <a:lnTo>
                  <a:pt x="412" y="747"/>
                </a:lnTo>
                <a:lnTo>
                  <a:pt x="416" y="722"/>
                </a:lnTo>
                <a:lnTo>
                  <a:pt x="418" y="710"/>
                </a:lnTo>
                <a:lnTo>
                  <a:pt x="420" y="698"/>
                </a:lnTo>
                <a:lnTo>
                  <a:pt x="426" y="674"/>
                </a:lnTo>
                <a:lnTo>
                  <a:pt x="432" y="650"/>
                </a:lnTo>
                <a:lnTo>
                  <a:pt x="436" y="638"/>
                </a:lnTo>
                <a:lnTo>
                  <a:pt x="440" y="626"/>
                </a:lnTo>
                <a:lnTo>
                  <a:pt x="449" y="603"/>
                </a:lnTo>
                <a:lnTo>
                  <a:pt x="454" y="592"/>
                </a:lnTo>
                <a:lnTo>
                  <a:pt x="459" y="580"/>
                </a:lnTo>
                <a:lnTo>
                  <a:pt x="471" y="558"/>
                </a:lnTo>
                <a:lnTo>
                  <a:pt x="483" y="536"/>
                </a:lnTo>
                <a:lnTo>
                  <a:pt x="496" y="514"/>
                </a:lnTo>
                <a:lnTo>
                  <a:pt x="511" y="494"/>
                </a:lnTo>
                <a:lnTo>
                  <a:pt x="527" y="473"/>
                </a:lnTo>
                <a:lnTo>
                  <a:pt x="543" y="454"/>
                </a:lnTo>
                <a:lnTo>
                  <a:pt x="561" y="435"/>
                </a:lnTo>
                <a:lnTo>
                  <a:pt x="580" y="417"/>
                </a:lnTo>
                <a:lnTo>
                  <a:pt x="600" y="400"/>
                </a:lnTo>
                <a:lnTo>
                  <a:pt x="622" y="384"/>
                </a:lnTo>
                <a:lnTo>
                  <a:pt x="644" y="369"/>
                </a:lnTo>
                <a:lnTo>
                  <a:pt x="656" y="362"/>
                </a:lnTo>
                <a:lnTo>
                  <a:pt x="668" y="355"/>
                </a:lnTo>
                <a:lnTo>
                  <a:pt x="680" y="348"/>
                </a:lnTo>
                <a:lnTo>
                  <a:pt x="692" y="342"/>
                </a:lnTo>
                <a:lnTo>
                  <a:pt x="704" y="336"/>
                </a:lnTo>
                <a:lnTo>
                  <a:pt x="716" y="330"/>
                </a:lnTo>
                <a:lnTo>
                  <a:pt x="729" y="325"/>
                </a:lnTo>
                <a:lnTo>
                  <a:pt x="741" y="320"/>
                </a:lnTo>
                <a:lnTo>
                  <a:pt x="753" y="315"/>
                </a:lnTo>
                <a:lnTo>
                  <a:pt x="766" y="311"/>
                </a:lnTo>
                <a:lnTo>
                  <a:pt x="791" y="303"/>
                </a:lnTo>
                <a:lnTo>
                  <a:pt x="816" y="297"/>
                </a:lnTo>
                <a:lnTo>
                  <a:pt x="829" y="295"/>
                </a:lnTo>
                <a:lnTo>
                  <a:pt x="841" y="292"/>
                </a:lnTo>
                <a:lnTo>
                  <a:pt x="854" y="290"/>
                </a:lnTo>
                <a:lnTo>
                  <a:pt x="867" y="289"/>
                </a:lnTo>
                <a:lnTo>
                  <a:pt x="892" y="287"/>
                </a:lnTo>
                <a:lnTo>
                  <a:pt x="917" y="286"/>
                </a:lnTo>
                <a:lnTo>
                  <a:pt x="942" y="286"/>
                </a:lnTo>
                <a:lnTo>
                  <a:pt x="967" y="287"/>
                </a:lnTo>
                <a:lnTo>
                  <a:pt x="980" y="289"/>
                </a:lnTo>
                <a:lnTo>
                  <a:pt x="992" y="290"/>
                </a:lnTo>
                <a:lnTo>
                  <a:pt x="1017" y="294"/>
                </a:lnTo>
                <a:lnTo>
                  <a:pt x="1042" y="299"/>
                </a:lnTo>
                <a:lnTo>
                  <a:pt x="1054" y="302"/>
                </a:lnTo>
                <a:lnTo>
                  <a:pt x="1066" y="305"/>
                </a:lnTo>
                <a:lnTo>
                  <a:pt x="1090" y="312"/>
                </a:lnTo>
                <a:lnTo>
                  <a:pt x="1113" y="321"/>
                </a:lnTo>
                <a:lnTo>
                  <a:pt x="1125" y="325"/>
                </a:lnTo>
                <a:lnTo>
                  <a:pt x="1136" y="330"/>
                </a:lnTo>
                <a:lnTo>
                  <a:pt x="1147" y="335"/>
                </a:lnTo>
                <a:lnTo>
                  <a:pt x="1158" y="341"/>
                </a:lnTo>
                <a:lnTo>
                  <a:pt x="1180" y="352"/>
                </a:lnTo>
                <a:lnTo>
                  <a:pt x="1201" y="364"/>
                </a:lnTo>
                <a:lnTo>
                  <a:pt x="1212" y="371"/>
                </a:lnTo>
                <a:lnTo>
                  <a:pt x="1222" y="378"/>
                </a:lnTo>
                <a:lnTo>
                  <a:pt x="1242" y="392"/>
                </a:lnTo>
                <a:lnTo>
                  <a:pt x="1261" y="408"/>
                </a:lnTo>
                <a:lnTo>
                  <a:pt x="1280" y="424"/>
                </a:lnTo>
                <a:lnTo>
                  <a:pt x="1289" y="432"/>
                </a:lnTo>
                <a:lnTo>
                  <a:pt x="1297" y="441"/>
                </a:lnTo>
                <a:lnTo>
                  <a:pt x="1306" y="450"/>
                </a:lnTo>
                <a:lnTo>
                  <a:pt x="1314" y="459"/>
                </a:lnTo>
                <a:lnTo>
                  <a:pt x="1330" y="478"/>
                </a:lnTo>
                <a:lnTo>
                  <a:pt x="1338" y="488"/>
                </a:lnTo>
                <a:lnTo>
                  <a:pt x="1345" y="498"/>
                </a:lnTo>
                <a:lnTo>
                  <a:pt x="1359" y="518"/>
                </a:lnTo>
                <a:lnTo>
                  <a:pt x="1366" y="529"/>
                </a:lnTo>
                <a:lnTo>
                  <a:pt x="1372" y="540"/>
                </a:lnTo>
                <a:lnTo>
                  <a:pt x="1379" y="551"/>
                </a:lnTo>
                <a:lnTo>
                  <a:pt x="1384" y="562"/>
                </a:lnTo>
                <a:lnTo>
                  <a:pt x="1395" y="584"/>
                </a:lnTo>
                <a:lnTo>
                  <a:pt x="1400" y="596"/>
                </a:lnTo>
                <a:lnTo>
                  <a:pt x="1405" y="607"/>
                </a:lnTo>
                <a:lnTo>
                  <a:pt x="1413" y="630"/>
                </a:lnTo>
                <a:lnTo>
                  <a:pt x="1420" y="654"/>
                </a:lnTo>
                <a:lnTo>
                  <a:pt x="1427" y="678"/>
                </a:lnTo>
                <a:lnTo>
                  <a:pt x="1430" y="690"/>
                </a:lnTo>
                <a:lnTo>
                  <a:pt x="1432" y="702"/>
                </a:lnTo>
                <a:lnTo>
                  <a:pt x="1436" y="726"/>
                </a:lnTo>
                <a:lnTo>
                  <a:pt x="1438" y="751"/>
                </a:lnTo>
                <a:lnTo>
                  <a:pt x="1439" y="763"/>
                </a:lnTo>
                <a:lnTo>
                  <a:pt x="1440" y="775"/>
                </a:lnTo>
                <a:lnTo>
                  <a:pt x="1440" y="800"/>
                </a:lnTo>
                <a:lnTo>
                  <a:pt x="1439" y="825"/>
                </a:lnTo>
                <a:lnTo>
                  <a:pt x="1437" y="849"/>
                </a:lnTo>
                <a:lnTo>
                  <a:pt x="1434" y="874"/>
                </a:lnTo>
                <a:lnTo>
                  <a:pt x="1431" y="886"/>
                </a:lnTo>
                <a:lnTo>
                  <a:pt x="1429" y="898"/>
                </a:lnTo>
                <a:lnTo>
                  <a:pt x="1423" y="922"/>
                </a:lnTo>
                <a:lnTo>
                  <a:pt x="1416" y="946"/>
                </a:lnTo>
                <a:lnTo>
                  <a:pt x="1408" y="970"/>
                </a:lnTo>
                <a:lnTo>
                  <a:pt x="1399" y="993"/>
                </a:lnTo>
                <a:lnTo>
                  <a:pt x="1389" y="1016"/>
                </a:lnTo>
                <a:lnTo>
                  <a:pt x="1378" y="1038"/>
                </a:lnTo>
                <a:lnTo>
                  <a:pt x="1365" y="1060"/>
                </a:lnTo>
                <a:lnTo>
                  <a:pt x="1352" y="1081"/>
                </a:lnTo>
                <a:lnTo>
                  <a:pt x="1337" y="1102"/>
                </a:lnTo>
                <a:lnTo>
                  <a:pt x="1322" y="1122"/>
                </a:lnTo>
                <a:lnTo>
                  <a:pt x="1305" y="1142"/>
                </a:lnTo>
                <a:lnTo>
                  <a:pt x="1287" y="1161"/>
                </a:lnTo>
                <a:lnTo>
                  <a:pt x="1268" y="1179"/>
                </a:lnTo>
                <a:lnTo>
                  <a:pt x="1248" y="1196"/>
                </a:lnTo>
                <a:lnTo>
                  <a:pt x="1226" y="1212"/>
                </a:lnTo>
                <a:lnTo>
                  <a:pt x="1204" y="1227"/>
                </a:lnTo>
                <a:lnTo>
                  <a:pt x="1193" y="1235"/>
                </a:lnTo>
                <a:lnTo>
                  <a:pt x="1181" y="1242"/>
                </a:lnTo>
                <a:lnTo>
                  <a:pt x="1169" y="1248"/>
                </a:lnTo>
                <a:lnTo>
                  <a:pt x="1157" y="1255"/>
                </a:lnTo>
                <a:lnTo>
                  <a:pt x="1145" y="1261"/>
                </a:lnTo>
                <a:lnTo>
                  <a:pt x="1133" y="1266"/>
                </a:lnTo>
                <a:lnTo>
                  <a:pt x="1108" y="1276"/>
                </a:lnTo>
                <a:lnTo>
                  <a:pt x="1096" y="1281"/>
                </a:lnTo>
                <a:lnTo>
                  <a:pt x="1083" y="1285"/>
                </a:lnTo>
                <a:lnTo>
                  <a:pt x="1071" y="1289"/>
                </a:lnTo>
                <a:lnTo>
                  <a:pt x="1058" y="1293"/>
                </a:lnTo>
                <a:lnTo>
                  <a:pt x="1033" y="1299"/>
                </a:lnTo>
                <a:lnTo>
                  <a:pt x="1021" y="1301"/>
                </a:lnTo>
                <a:lnTo>
                  <a:pt x="1007" y="1304"/>
                </a:lnTo>
                <a:lnTo>
                  <a:pt x="994" y="1305"/>
                </a:lnTo>
                <a:lnTo>
                  <a:pt x="982" y="1307"/>
                </a:lnTo>
                <a:lnTo>
                  <a:pt x="956" y="1309"/>
                </a:lnTo>
                <a:lnTo>
                  <a:pt x="931" y="1310"/>
                </a:lnTo>
                <a:lnTo>
                  <a:pt x="906" y="1310"/>
                </a:lnTo>
                <a:lnTo>
                  <a:pt x="881" y="1308"/>
                </a:lnTo>
                <a:lnTo>
                  <a:pt x="868" y="1307"/>
                </a:lnTo>
                <a:lnTo>
                  <a:pt x="856" y="1306"/>
                </a:lnTo>
                <a:lnTo>
                  <a:pt x="831" y="1302"/>
                </a:lnTo>
                <a:lnTo>
                  <a:pt x="807" y="1297"/>
                </a:lnTo>
                <a:lnTo>
                  <a:pt x="783" y="1291"/>
                </a:lnTo>
                <a:lnTo>
                  <a:pt x="759" y="1284"/>
                </a:lnTo>
                <a:lnTo>
                  <a:pt x="747" y="1280"/>
                </a:lnTo>
                <a:lnTo>
                  <a:pt x="736" y="1275"/>
                </a:lnTo>
                <a:lnTo>
                  <a:pt x="713" y="1266"/>
                </a:lnTo>
                <a:lnTo>
                  <a:pt x="691" y="1256"/>
                </a:lnTo>
                <a:lnTo>
                  <a:pt x="669" y="1244"/>
                </a:lnTo>
                <a:lnTo>
                  <a:pt x="647" y="1232"/>
                </a:lnTo>
                <a:lnTo>
                  <a:pt x="637" y="1225"/>
                </a:lnTo>
                <a:lnTo>
                  <a:pt x="627" y="1218"/>
                </a:lnTo>
                <a:lnTo>
                  <a:pt x="606" y="1204"/>
                </a:lnTo>
                <a:lnTo>
                  <a:pt x="586" y="1189"/>
                </a:lnTo>
                <a:lnTo>
                  <a:pt x="568" y="1172"/>
                </a:lnTo>
                <a:lnTo>
                  <a:pt x="559" y="1164"/>
                </a:lnTo>
                <a:lnTo>
                  <a:pt x="550" y="1155"/>
                </a:lnTo>
                <a:lnTo>
                  <a:pt x="541" y="1146"/>
                </a:lnTo>
                <a:lnTo>
                  <a:pt x="533" y="1137"/>
                </a:lnTo>
                <a:lnTo>
                  <a:pt x="517" y="1118"/>
                </a:lnTo>
                <a:lnTo>
                  <a:pt x="509" y="1109"/>
                </a:lnTo>
                <a:lnTo>
                  <a:pt x="502" y="1099"/>
                </a:lnTo>
                <a:lnTo>
                  <a:pt x="488" y="1078"/>
                </a:lnTo>
                <a:lnTo>
                  <a:pt x="481" y="1068"/>
                </a:lnTo>
                <a:lnTo>
                  <a:pt x="475" y="1057"/>
                </a:lnTo>
                <a:close/>
                <a:moveTo>
                  <a:pt x="413" y="1093"/>
                </a:moveTo>
                <a:lnTo>
                  <a:pt x="420" y="1105"/>
                </a:lnTo>
                <a:lnTo>
                  <a:pt x="428" y="1117"/>
                </a:lnTo>
                <a:lnTo>
                  <a:pt x="444" y="1140"/>
                </a:lnTo>
                <a:lnTo>
                  <a:pt x="452" y="1152"/>
                </a:lnTo>
                <a:lnTo>
                  <a:pt x="461" y="1163"/>
                </a:lnTo>
                <a:lnTo>
                  <a:pt x="479" y="1184"/>
                </a:lnTo>
                <a:lnTo>
                  <a:pt x="498" y="1205"/>
                </a:lnTo>
                <a:lnTo>
                  <a:pt x="508" y="1215"/>
                </a:lnTo>
                <a:lnTo>
                  <a:pt x="519" y="1224"/>
                </a:lnTo>
                <a:lnTo>
                  <a:pt x="540" y="1243"/>
                </a:lnTo>
                <a:lnTo>
                  <a:pt x="562" y="1260"/>
                </a:lnTo>
                <a:lnTo>
                  <a:pt x="585" y="1277"/>
                </a:lnTo>
                <a:lnTo>
                  <a:pt x="596" y="1285"/>
                </a:lnTo>
                <a:lnTo>
                  <a:pt x="608" y="1292"/>
                </a:lnTo>
                <a:lnTo>
                  <a:pt x="621" y="1299"/>
                </a:lnTo>
                <a:lnTo>
                  <a:pt x="633" y="1306"/>
                </a:lnTo>
                <a:lnTo>
                  <a:pt x="646" y="1313"/>
                </a:lnTo>
                <a:lnTo>
                  <a:pt x="658" y="1319"/>
                </a:lnTo>
                <a:lnTo>
                  <a:pt x="671" y="1325"/>
                </a:lnTo>
                <a:lnTo>
                  <a:pt x="684" y="1331"/>
                </a:lnTo>
                <a:lnTo>
                  <a:pt x="710" y="1342"/>
                </a:lnTo>
                <a:lnTo>
                  <a:pt x="737" y="1351"/>
                </a:lnTo>
                <a:lnTo>
                  <a:pt x="764" y="1360"/>
                </a:lnTo>
                <a:lnTo>
                  <a:pt x="791" y="1367"/>
                </a:lnTo>
                <a:lnTo>
                  <a:pt x="819" y="1372"/>
                </a:lnTo>
                <a:lnTo>
                  <a:pt x="833" y="1375"/>
                </a:lnTo>
                <a:lnTo>
                  <a:pt x="847" y="1377"/>
                </a:lnTo>
                <a:lnTo>
                  <a:pt x="875" y="1380"/>
                </a:lnTo>
                <a:lnTo>
                  <a:pt x="904" y="1381"/>
                </a:lnTo>
                <a:lnTo>
                  <a:pt x="918" y="1382"/>
                </a:lnTo>
                <a:lnTo>
                  <a:pt x="932" y="1382"/>
                </a:lnTo>
                <a:lnTo>
                  <a:pt x="961" y="1381"/>
                </a:lnTo>
                <a:lnTo>
                  <a:pt x="975" y="1379"/>
                </a:lnTo>
                <a:lnTo>
                  <a:pt x="990" y="1378"/>
                </a:lnTo>
                <a:lnTo>
                  <a:pt x="1004" y="1376"/>
                </a:lnTo>
                <a:lnTo>
                  <a:pt x="1020" y="1374"/>
                </a:lnTo>
                <a:lnTo>
                  <a:pt x="1034" y="1371"/>
                </a:lnTo>
                <a:lnTo>
                  <a:pt x="1048" y="1369"/>
                </a:lnTo>
                <a:lnTo>
                  <a:pt x="1063" y="1365"/>
                </a:lnTo>
                <a:lnTo>
                  <a:pt x="1077" y="1362"/>
                </a:lnTo>
                <a:lnTo>
                  <a:pt x="1091" y="1358"/>
                </a:lnTo>
                <a:lnTo>
                  <a:pt x="1105" y="1353"/>
                </a:lnTo>
                <a:lnTo>
                  <a:pt x="1119" y="1348"/>
                </a:lnTo>
                <a:lnTo>
                  <a:pt x="1134" y="1343"/>
                </a:lnTo>
                <a:lnTo>
                  <a:pt x="1161" y="1331"/>
                </a:lnTo>
                <a:lnTo>
                  <a:pt x="1175" y="1325"/>
                </a:lnTo>
                <a:lnTo>
                  <a:pt x="1189" y="1318"/>
                </a:lnTo>
                <a:lnTo>
                  <a:pt x="1203" y="1311"/>
                </a:lnTo>
                <a:lnTo>
                  <a:pt x="1216" y="1303"/>
                </a:lnTo>
                <a:lnTo>
                  <a:pt x="1386" y="1596"/>
                </a:lnTo>
                <a:lnTo>
                  <a:pt x="1365" y="1608"/>
                </a:lnTo>
                <a:lnTo>
                  <a:pt x="1344" y="1619"/>
                </a:lnTo>
                <a:lnTo>
                  <a:pt x="1323" y="1629"/>
                </a:lnTo>
                <a:lnTo>
                  <a:pt x="1302" y="1639"/>
                </a:lnTo>
                <a:lnTo>
                  <a:pt x="1280" y="1648"/>
                </a:lnTo>
                <a:lnTo>
                  <a:pt x="1259" y="1657"/>
                </a:lnTo>
                <a:lnTo>
                  <a:pt x="1216" y="1673"/>
                </a:lnTo>
                <a:lnTo>
                  <a:pt x="1194" y="1680"/>
                </a:lnTo>
                <a:lnTo>
                  <a:pt x="1172" y="1686"/>
                </a:lnTo>
                <a:lnTo>
                  <a:pt x="1150" y="1692"/>
                </a:lnTo>
                <a:lnTo>
                  <a:pt x="1128" y="1697"/>
                </a:lnTo>
                <a:lnTo>
                  <a:pt x="1106" y="1702"/>
                </a:lnTo>
                <a:lnTo>
                  <a:pt x="1083" y="1706"/>
                </a:lnTo>
                <a:lnTo>
                  <a:pt x="1039" y="1713"/>
                </a:lnTo>
                <a:lnTo>
                  <a:pt x="993" y="1717"/>
                </a:lnTo>
                <a:lnTo>
                  <a:pt x="949" y="1719"/>
                </a:lnTo>
                <a:lnTo>
                  <a:pt x="926" y="1720"/>
                </a:lnTo>
                <a:lnTo>
                  <a:pt x="904" y="1719"/>
                </a:lnTo>
                <a:lnTo>
                  <a:pt x="882" y="1719"/>
                </a:lnTo>
                <a:lnTo>
                  <a:pt x="860" y="1717"/>
                </a:lnTo>
                <a:lnTo>
                  <a:pt x="838" y="1715"/>
                </a:lnTo>
                <a:lnTo>
                  <a:pt x="816" y="1713"/>
                </a:lnTo>
                <a:lnTo>
                  <a:pt x="794" y="1710"/>
                </a:lnTo>
                <a:lnTo>
                  <a:pt x="772" y="1707"/>
                </a:lnTo>
                <a:lnTo>
                  <a:pt x="728" y="1698"/>
                </a:lnTo>
                <a:lnTo>
                  <a:pt x="707" y="1694"/>
                </a:lnTo>
                <a:lnTo>
                  <a:pt x="685" y="1688"/>
                </a:lnTo>
                <a:lnTo>
                  <a:pt x="664" y="1682"/>
                </a:lnTo>
                <a:lnTo>
                  <a:pt x="643" y="1676"/>
                </a:lnTo>
                <a:lnTo>
                  <a:pt x="622" y="1669"/>
                </a:lnTo>
                <a:lnTo>
                  <a:pt x="600" y="1661"/>
                </a:lnTo>
                <a:lnTo>
                  <a:pt x="579" y="1653"/>
                </a:lnTo>
                <a:lnTo>
                  <a:pt x="559" y="1645"/>
                </a:lnTo>
                <a:lnTo>
                  <a:pt x="539" y="1636"/>
                </a:lnTo>
                <a:lnTo>
                  <a:pt x="519" y="1626"/>
                </a:lnTo>
                <a:lnTo>
                  <a:pt x="499" y="1616"/>
                </a:lnTo>
                <a:lnTo>
                  <a:pt x="479" y="1606"/>
                </a:lnTo>
                <a:lnTo>
                  <a:pt x="460" y="1595"/>
                </a:lnTo>
                <a:lnTo>
                  <a:pt x="441" y="1584"/>
                </a:lnTo>
                <a:lnTo>
                  <a:pt x="422" y="1572"/>
                </a:lnTo>
                <a:lnTo>
                  <a:pt x="403" y="1559"/>
                </a:lnTo>
                <a:lnTo>
                  <a:pt x="385" y="1547"/>
                </a:lnTo>
                <a:lnTo>
                  <a:pt x="367" y="1533"/>
                </a:lnTo>
                <a:lnTo>
                  <a:pt x="349" y="1520"/>
                </a:lnTo>
                <a:lnTo>
                  <a:pt x="332" y="1505"/>
                </a:lnTo>
                <a:lnTo>
                  <a:pt x="314" y="1491"/>
                </a:lnTo>
                <a:lnTo>
                  <a:pt x="298" y="1475"/>
                </a:lnTo>
                <a:lnTo>
                  <a:pt x="281" y="1460"/>
                </a:lnTo>
                <a:lnTo>
                  <a:pt x="265" y="1444"/>
                </a:lnTo>
                <a:lnTo>
                  <a:pt x="249" y="1427"/>
                </a:lnTo>
                <a:lnTo>
                  <a:pt x="234" y="1410"/>
                </a:lnTo>
                <a:lnTo>
                  <a:pt x="219" y="1393"/>
                </a:lnTo>
                <a:lnTo>
                  <a:pt x="203" y="1375"/>
                </a:lnTo>
                <a:lnTo>
                  <a:pt x="189" y="1357"/>
                </a:lnTo>
                <a:lnTo>
                  <a:pt x="175" y="1338"/>
                </a:lnTo>
                <a:lnTo>
                  <a:pt x="161" y="1319"/>
                </a:lnTo>
                <a:lnTo>
                  <a:pt x="148" y="1299"/>
                </a:lnTo>
                <a:lnTo>
                  <a:pt x="136" y="1279"/>
                </a:lnTo>
                <a:lnTo>
                  <a:pt x="124" y="1259"/>
                </a:lnTo>
                <a:lnTo>
                  <a:pt x="112" y="1238"/>
                </a:lnTo>
                <a:lnTo>
                  <a:pt x="101" y="1217"/>
                </a:lnTo>
                <a:lnTo>
                  <a:pt x="91" y="1196"/>
                </a:lnTo>
                <a:lnTo>
                  <a:pt x="81" y="1175"/>
                </a:lnTo>
                <a:lnTo>
                  <a:pt x="71" y="1154"/>
                </a:lnTo>
                <a:lnTo>
                  <a:pt x="63" y="1132"/>
                </a:lnTo>
                <a:lnTo>
                  <a:pt x="55" y="1110"/>
                </a:lnTo>
                <a:lnTo>
                  <a:pt x="47" y="1089"/>
                </a:lnTo>
                <a:lnTo>
                  <a:pt x="40" y="1067"/>
                </a:lnTo>
                <a:lnTo>
                  <a:pt x="34" y="1045"/>
                </a:lnTo>
                <a:lnTo>
                  <a:pt x="28" y="1023"/>
                </a:lnTo>
                <a:lnTo>
                  <a:pt x="23" y="1001"/>
                </a:lnTo>
                <a:lnTo>
                  <a:pt x="18" y="979"/>
                </a:lnTo>
                <a:lnTo>
                  <a:pt x="14" y="957"/>
                </a:lnTo>
                <a:lnTo>
                  <a:pt x="7" y="912"/>
                </a:lnTo>
                <a:lnTo>
                  <a:pt x="3" y="868"/>
                </a:lnTo>
                <a:lnTo>
                  <a:pt x="0" y="823"/>
                </a:lnTo>
                <a:lnTo>
                  <a:pt x="0" y="801"/>
                </a:lnTo>
                <a:lnTo>
                  <a:pt x="0" y="778"/>
                </a:lnTo>
                <a:lnTo>
                  <a:pt x="1" y="756"/>
                </a:lnTo>
                <a:lnTo>
                  <a:pt x="2" y="734"/>
                </a:lnTo>
                <a:lnTo>
                  <a:pt x="4" y="712"/>
                </a:lnTo>
                <a:lnTo>
                  <a:pt x="7" y="690"/>
                </a:lnTo>
                <a:lnTo>
                  <a:pt x="9" y="668"/>
                </a:lnTo>
                <a:lnTo>
                  <a:pt x="13" y="646"/>
                </a:lnTo>
                <a:lnTo>
                  <a:pt x="21" y="603"/>
                </a:lnTo>
                <a:lnTo>
                  <a:pt x="26" y="581"/>
                </a:lnTo>
                <a:lnTo>
                  <a:pt x="32" y="560"/>
                </a:lnTo>
                <a:lnTo>
                  <a:pt x="38" y="538"/>
                </a:lnTo>
                <a:lnTo>
                  <a:pt x="44" y="517"/>
                </a:lnTo>
                <a:lnTo>
                  <a:pt x="51" y="496"/>
                </a:lnTo>
                <a:lnTo>
                  <a:pt x="59" y="476"/>
                </a:lnTo>
                <a:lnTo>
                  <a:pt x="67" y="455"/>
                </a:lnTo>
                <a:lnTo>
                  <a:pt x="75" y="434"/>
                </a:lnTo>
                <a:lnTo>
                  <a:pt x="84" y="414"/>
                </a:lnTo>
                <a:lnTo>
                  <a:pt x="94" y="394"/>
                </a:lnTo>
                <a:lnTo>
                  <a:pt x="104" y="374"/>
                </a:lnTo>
                <a:lnTo>
                  <a:pt x="114" y="355"/>
                </a:lnTo>
                <a:lnTo>
                  <a:pt x="125" y="335"/>
                </a:lnTo>
                <a:lnTo>
                  <a:pt x="136" y="316"/>
                </a:lnTo>
                <a:lnTo>
                  <a:pt x="148" y="297"/>
                </a:lnTo>
                <a:lnTo>
                  <a:pt x="161" y="279"/>
                </a:lnTo>
                <a:lnTo>
                  <a:pt x="173" y="260"/>
                </a:lnTo>
                <a:lnTo>
                  <a:pt x="187" y="242"/>
                </a:lnTo>
                <a:lnTo>
                  <a:pt x="200" y="225"/>
                </a:lnTo>
                <a:lnTo>
                  <a:pt x="216" y="207"/>
                </a:lnTo>
                <a:lnTo>
                  <a:pt x="230" y="190"/>
                </a:lnTo>
                <a:lnTo>
                  <a:pt x="245" y="173"/>
                </a:lnTo>
                <a:lnTo>
                  <a:pt x="261" y="157"/>
                </a:lnTo>
                <a:lnTo>
                  <a:pt x="277" y="141"/>
                </a:lnTo>
                <a:lnTo>
                  <a:pt x="294" y="125"/>
                </a:lnTo>
                <a:lnTo>
                  <a:pt x="311" y="109"/>
                </a:lnTo>
                <a:lnTo>
                  <a:pt x="328" y="94"/>
                </a:lnTo>
                <a:lnTo>
                  <a:pt x="346" y="80"/>
                </a:lnTo>
                <a:lnTo>
                  <a:pt x="364" y="65"/>
                </a:lnTo>
                <a:lnTo>
                  <a:pt x="383" y="51"/>
                </a:lnTo>
                <a:lnTo>
                  <a:pt x="402" y="38"/>
                </a:lnTo>
                <a:lnTo>
                  <a:pt x="422" y="25"/>
                </a:lnTo>
                <a:lnTo>
                  <a:pt x="442" y="12"/>
                </a:lnTo>
                <a:lnTo>
                  <a:pt x="462" y="0"/>
                </a:lnTo>
                <a:lnTo>
                  <a:pt x="694" y="63"/>
                </a:lnTo>
                <a:lnTo>
                  <a:pt x="632" y="293"/>
                </a:lnTo>
                <a:lnTo>
                  <a:pt x="619" y="301"/>
                </a:lnTo>
                <a:lnTo>
                  <a:pt x="605" y="309"/>
                </a:lnTo>
                <a:lnTo>
                  <a:pt x="579" y="327"/>
                </a:lnTo>
                <a:lnTo>
                  <a:pt x="567" y="336"/>
                </a:lnTo>
                <a:lnTo>
                  <a:pt x="555" y="345"/>
                </a:lnTo>
                <a:lnTo>
                  <a:pt x="544" y="354"/>
                </a:lnTo>
                <a:lnTo>
                  <a:pt x="532" y="364"/>
                </a:lnTo>
                <a:lnTo>
                  <a:pt x="522" y="374"/>
                </a:lnTo>
                <a:lnTo>
                  <a:pt x="511" y="385"/>
                </a:lnTo>
                <a:lnTo>
                  <a:pt x="501" y="395"/>
                </a:lnTo>
                <a:lnTo>
                  <a:pt x="491" y="406"/>
                </a:lnTo>
                <a:lnTo>
                  <a:pt x="481" y="417"/>
                </a:lnTo>
                <a:lnTo>
                  <a:pt x="471" y="428"/>
                </a:lnTo>
                <a:lnTo>
                  <a:pt x="462" y="440"/>
                </a:lnTo>
                <a:lnTo>
                  <a:pt x="454" y="451"/>
                </a:lnTo>
                <a:lnTo>
                  <a:pt x="445" y="463"/>
                </a:lnTo>
                <a:lnTo>
                  <a:pt x="437" y="475"/>
                </a:lnTo>
                <a:lnTo>
                  <a:pt x="429" y="487"/>
                </a:lnTo>
                <a:lnTo>
                  <a:pt x="422" y="499"/>
                </a:lnTo>
                <a:lnTo>
                  <a:pt x="415" y="511"/>
                </a:lnTo>
                <a:lnTo>
                  <a:pt x="408" y="524"/>
                </a:lnTo>
                <a:lnTo>
                  <a:pt x="395" y="550"/>
                </a:lnTo>
                <a:lnTo>
                  <a:pt x="389" y="562"/>
                </a:lnTo>
                <a:lnTo>
                  <a:pt x="383" y="576"/>
                </a:lnTo>
                <a:lnTo>
                  <a:pt x="378" y="589"/>
                </a:lnTo>
                <a:lnTo>
                  <a:pt x="373" y="602"/>
                </a:lnTo>
                <a:lnTo>
                  <a:pt x="368" y="615"/>
                </a:lnTo>
                <a:lnTo>
                  <a:pt x="364" y="629"/>
                </a:lnTo>
                <a:lnTo>
                  <a:pt x="356" y="656"/>
                </a:lnTo>
                <a:lnTo>
                  <a:pt x="350" y="684"/>
                </a:lnTo>
                <a:lnTo>
                  <a:pt x="347" y="698"/>
                </a:lnTo>
                <a:lnTo>
                  <a:pt x="345" y="711"/>
                </a:lnTo>
                <a:lnTo>
                  <a:pt x="343" y="725"/>
                </a:lnTo>
                <a:lnTo>
                  <a:pt x="341" y="739"/>
                </a:lnTo>
                <a:lnTo>
                  <a:pt x="339" y="767"/>
                </a:lnTo>
                <a:lnTo>
                  <a:pt x="338" y="795"/>
                </a:lnTo>
                <a:lnTo>
                  <a:pt x="337" y="810"/>
                </a:lnTo>
                <a:lnTo>
                  <a:pt x="338" y="824"/>
                </a:lnTo>
                <a:lnTo>
                  <a:pt x="339" y="852"/>
                </a:lnTo>
                <a:lnTo>
                  <a:pt x="342" y="880"/>
                </a:lnTo>
                <a:lnTo>
                  <a:pt x="344" y="893"/>
                </a:lnTo>
                <a:lnTo>
                  <a:pt x="346" y="907"/>
                </a:lnTo>
                <a:lnTo>
                  <a:pt x="349" y="921"/>
                </a:lnTo>
                <a:lnTo>
                  <a:pt x="352" y="935"/>
                </a:lnTo>
                <a:lnTo>
                  <a:pt x="355" y="949"/>
                </a:lnTo>
                <a:lnTo>
                  <a:pt x="358" y="962"/>
                </a:lnTo>
                <a:lnTo>
                  <a:pt x="367" y="989"/>
                </a:lnTo>
                <a:lnTo>
                  <a:pt x="371" y="1003"/>
                </a:lnTo>
                <a:lnTo>
                  <a:pt x="376" y="1016"/>
                </a:lnTo>
                <a:lnTo>
                  <a:pt x="381" y="1029"/>
                </a:lnTo>
                <a:lnTo>
                  <a:pt x="387" y="1042"/>
                </a:lnTo>
                <a:lnTo>
                  <a:pt x="393" y="1055"/>
                </a:lnTo>
                <a:lnTo>
                  <a:pt x="399" y="1067"/>
                </a:lnTo>
                <a:lnTo>
                  <a:pt x="406" y="1080"/>
                </a:lnTo>
                <a:lnTo>
                  <a:pt x="413" y="1093"/>
                </a:lnTo>
                <a:close/>
                <a:moveTo>
                  <a:pt x="2203" y="309"/>
                </a:moveTo>
                <a:lnTo>
                  <a:pt x="2187" y="310"/>
                </a:lnTo>
                <a:lnTo>
                  <a:pt x="2179" y="311"/>
                </a:lnTo>
                <a:lnTo>
                  <a:pt x="2171" y="312"/>
                </a:lnTo>
                <a:lnTo>
                  <a:pt x="2156" y="316"/>
                </a:lnTo>
                <a:lnTo>
                  <a:pt x="2149" y="318"/>
                </a:lnTo>
                <a:lnTo>
                  <a:pt x="2142" y="321"/>
                </a:lnTo>
                <a:lnTo>
                  <a:pt x="2129" y="327"/>
                </a:lnTo>
                <a:lnTo>
                  <a:pt x="2123" y="331"/>
                </a:lnTo>
                <a:lnTo>
                  <a:pt x="2117" y="335"/>
                </a:lnTo>
                <a:lnTo>
                  <a:pt x="2111" y="339"/>
                </a:lnTo>
                <a:lnTo>
                  <a:pt x="2105" y="344"/>
                </a:lnTo>
                <a:lnTo>
                  <a:pt x="2095" y="354"/>
                </a:lnTo>
                <a:lnTo>
                  <a:pt x="2090" y="359"/>
                </a:lnTo>
                <a:lnTo>
                  <a:pt x="2086" y="365"/>
                </a:lnTo>
                <a:lnTo>
                  <a:pt x="2082" y="371"/>
                </a:lnTo>
                <a:lnTo>
                  <a:pt x="2078" y="377"/>
                </a:lnTo>
                <a:lnTo>
                  <a:pt x="2075" y="384"/>
                </a:lnTo>
                <a:lnTo>
                  <a:pt x="2071" y="391"/>
                </a:lnTo>
                <a:lnTo>
                  <a:pt x="2066" y="405"/>
                </a:lnTo>
                <a:lnTo>
                  <a:pt x="2063" y="413"/>
                </a:lnTo>
                <a:lnTo>
                  <a:pt x="2061" y="421"/>
                </a:lnTo>
                <a:lnTo>
                  <a:pt x="2059" y="429"/>
                </a:lnTo>
                <a:lnTo>
                  <a:pt x="2058" y="438"/>
                </a:lnTo>
                <a:lnTo>
                  <a:pt x="2056" y="455"/>
                </a:lnTo>
                <a:lnTo>
                  <a:pt x="2055" y="464"/>
                </a:lnTo>
                <a:lnTo>
                  <a:pt x="2055" y="474"/>
                </a:lnTo>
                <a:lnTo>
                  <a:pt x="2055" y="636"/>
                </a:lnTo>
                <a:lnTo>
                  <a:pt x="2263" y="636"/>
                </a:lnTo>
                <a:lnTo>
                  <a:pt x="2263" y="861"/>
                </a:lnTo>
                <a:lnTo>
                  <a:pt x="2055" y="861"/>
                </a:lnTo>
                <a:lnTo>
                  <a:pt x="2055" y="1626"/>
                </a:lnTo>
                <a:lnTo>
                  <a:pt x="1771" y="1626"/>
                </a:lnTo>
                <a:lnTo>
                  <a:pt x="1771" y="861"/>
                </a:lnTo>
                <a:lnTo>
                  <a:pt x="1639" y="861"/>
                </a:lnTo>
                <a:lnTo>
                  <a:pt x="1639" y="636"/>
                </a:lnTo>
                <a:lnTo>
                  <a:pt x="1771" y="636"/>
                </a:lnTo>
                <a:lnTo>
                  <a:pt x="1771" y="499"/>
                </a:lnTo>
                <a:lnTo>
                  <a:pt x="1771" y="460"/>
                </a:lnTo>
                <a:lnTo>
                  <a:pt x="1772" y="440"/>
                </a:lnTo>
                <a:lnTo>
                  <a:pt x="1773" y="420"/>
                </a:lnTo>
                <a:lnTo>
                  <a:pt x="1775" y="401"/>
                </a:lnTo>
                <a:lnTo>
                  <a:pt x="1777" y="381"/>
                </a:lnTo>
                <a:lnTo>
                  <a:pt x="1779" y="362"/>
                </a:lnTo>
                <a:lnTo>
                  <a:pt x="1782" y="342"/>
                </a:lnTo>
                <a:lnTo>
                  <a:pt x="1786" y="323"/>
                </a:lnTo>
                <a:lnTo>
                  <a:pt x="1790" y="305"/>
                </a:lnTo>
                <a:lnTo>
                  <a:pt x="1795" y="286"/>
                </a:lnTo>
                <a:lnTo>
                  <a:pt x="1801" y="268"/>
                </a:lnTo>
                <a:lnTo>
                  <a:pt x="1808" y="251"/>
                </a:lnTo>
                <a:lnTo>
                  <a:pt x="1812" y="242"/>
                </a:lnTo>
                <a:lnTo>
                  <a:pt x="1815" y="234"/>
                </a:lnTo>
                <a:lnTo>
                  <a:pt x="1824" y="217"/>
                </a:lnTo>
                <a:lnTo>
                  <a:pt x="1834" y="201"/>
                </a:lnTo>
                <a:lnTo>
                  <a:pt x="1844" y="186"/>
                </a:lnTo>
                <a:lnTo>
                  <a:pt x="1850" y="178"/>
                </a:lnTo>
                <a:lnTo>
                  <a:pt x="1855" y="171"/>
                </a:lnTo>
                <a:lnTo>
                  <a:pt x="1868" y="157"/>
                </a:lnTo>
                <a:lnTo>
                  <a:pt x="1874" y="150"/>
                </a:lnTo>
                <a:lnTo>
                  <a:pt x="1881" y="144"/>
                </a:lnTo>
                <a:lnTo>
                  <a:pt x="1896" y="132"/>
                </a:lnTo>
                <a:lnTo>
                  <a:pt x="1903" y="126"/>
                </a:lnTo>
                <a:lnTo>
                  <a:pt x="1911" y="120"/>
                </a:lnTo>
                <a:lnTo>
                  <a:pt x="1928" y="109"/>
                </a:lnTo>
                <a:lnTo>
                  <a:pt x="1937" y="104"/>
                </a:lnTo>
                <a:lnTo>
                  <a:pt x="1947" y="99"/>
                </a:lnTo>
                <a:lnTo>
                  <a:pt x="1966" y="91"/>
                </a:lnTo>
                <a:lnTo>
                  <a:pt x="1987" y="83"/>
                </a:lnTo>
                <a:lnTo>
                  <a:pt x="1998" y="79"/>
                </a:lnTo>
                <a:lnTo>
                  <a:pt x="2009" y="76"/>
                </a:lnTo>
                <a:lnTo>
                  <a:pt x="2021" y="73"/>
                </a:lnTo>
                <a:lnTo>
                  <a:pt x="2033" y="71"/>
                </a:lnTo>
                <a:lnTo>
                  <a:pt x="2046" y="68"/>
                </a:lnTo>
                <a:lnTo>
                  <a:pt x="2059" y="66"/>
                </a:lnTo>
                <a:lnTo>
                  <a:pt x="2085" y="63"/>
                </a:lnTo>
                <a:lnTo>
                  <a:pt x="2114" y="61"/>
                </a:lnTo>
                <a:lnTo>
                  <a:pt x="2129" y="61"/>
                </a:lnTo>
                <a:lnTo>
                  <a:pt x="2144" y="60"/>
                </a:lnTo>
                <a:lnTo>
                  <a:pt x="2172" y="61"/>
                </a:lnTo>
                <a:lnTo>
                  <a:pt x="2197" y="62"/>
                </a:lnTo>
                <a:lnTo>
                  <a:pt x="2220" y="64"/>
                </a:lnTo>
                <a:lnTo>
                  <a:pt x="2243" y="66"/>
                </a:lnTo>
                <a:lnTo>
                  <a:pt x="2265" y="70"/>
                </a:lnTo>
                <a:lnTo>
                  <a:pt x="2287" y="74"/>
                </a:lnTo>
                <a:lnTo>
                  <a:pt x="2339" y="84"/>
                </a:lnTo>
                <a:lnTo>
                  <a:pt x="2339" y="327"/>
                </a:lnTo>
                <a:lnTo>
                  <a:pt x="2312" y="321"/>
                </a:lnTo>
                <a:lnTo>
                  <a:pt x="2298" y="318"/>
                </a:lnTo>
                <a:lnTo>
                  <a:pt x="2284" y="315"/>
                </a:lnTo>
                <a:lnTo>
                  <a:pt x="2267" y="313"/>
                </a:lnTo>
                <a:lnTo>
                  <a:pt x="2249" y="311"/>
                </a:lnTo>
                <a:lnTo>
                  <a:pt x="2227" y="310"/>
                </a:lnTo>
                <a:lnTo>
                  <a:pt x="2203" y="309"/>
                </a:lnTo>
                <a:close/>
                <a:moveTo>
                  <a:pt x="7327" y="1625"/>
                </a:moveTo>
                <a:lnTo>
                  <a:pt x="7040" y="1625"/>
                </a:lnTo>
                <a:lnTo>
                  <a:pt x="7040" y="1111"/>
                </a:lnTo>
                <a:lnTo>
                  <a:pt x="7039" y="1087"/>
                </a:lnTo>
                <a:lnTo>
                  <a:pt x="7039" y="1064"/>
                </a:lnTo>
                <a:lnTo>
                  <a:pt x="7037" y="1023"/>
                </a:lnTo>
                <a:lnTo>
                  <a:pt x="7035" y="1005"/>
                </a:lnTo>
                <a:lnTo>
                  <a:pt x="7034" y="988"/>
                </a:lnTo>
                <a:lnTo>
                  <a:pt x="7031" y="974"/>
                </a:lnTo>
                <a:lnTo>
                  <a:pt x="7029" y="962"/>
                </a:lnTo>
                <a:lnTo>
                  <a:pt x="7026" y="950"/>
                </a:lnTo>
                <a:lnTo>
                  <a:pt x="7022" y="938"/>
                </a:lnTo>
                <a:lnTo>
                  <a:pt x="7017" y="928"/>
                </a:lnTo>
                <a:lnTo>
                  <a:pt x="7011" y="918"/>
                </a:lnTo>
                <a:lnTo>
                  <a:pt x="7005" y="910"/>
                </a:lnTo>
                <a:lnTo>
                  <a:pt x="6998" y="902"/>
                </a:lnTo>
                <a:lnTo>
                  <a:pt x="6995" y="898"/>
                </a:lnTo>
                <a:lnTo>
                  <a:pt x="6991" y="895"/>
                </a:lnTo>
                <a:lnTo>
                  <a:pt x="6983" y="888"/>
                </a:lnTo>
                <a:lnTo>
                  <a:pt x="6974" y="883"/>
                </a:lnTo>
                <a:lnTo>
                  <a:pt x="6965" y="878"/>
                </a:lnTo>
                <a:lnTo>
                  <a:pt x="6955" y="874"/>
                </a:lnTo>
                <a:lnTo>
                  <a:pt x="6944" y="870"/>
                </a:lnTo>
                <a:lnTo>
                  <a:pt x="6933" y="868"/>
                </a:lnTo>
                <a:lnTo>
                  <a:pt x="6922" y="866"/>
                </a:lnTo>
                <a:lnTo>
                  <a:pt x="6910" y="865"/>
                </a:lnTo>
                <a:lnTo>
                  <a:pt x="6897" y="865"/>
                </a:lnTo>
                <a:lnTo>
                  <a:pt x="6886" y="865"/>
                </a:lnTo>
                <a:lnTo>
                  <a:pt x="6875" y="866"/>
                </a:lnTo>
                <a:lnTo>
                  <a:pt x="6870" y="866"/>
                </a:lnTo>
                <a:lnTo>
                  <a:pt x="6865" y="867"/>
                </a:lnTo>
                <a:lnTo>
                  <a:pt x="6855" y="869"/>
                </a:lnTo>
                <a:lnTo>
                  <a:pt x="6846" y="872"/>
                </a:lnTo>
                <a:lnTo>
                  <a:pt x="6836" y="875"/>
                </a:lnTo>
                <a:lnTo>
                  <a:pt x="6827" y="878"/>
                </a:lnTo>
                <a:lnTo>
                  <a:pt x="6819" y="883"/>
                </a:lnTo>
                <a:lnTo>
                  <a:pt x="6811" y="887"/>
                </a:lnTo>
                <a:lnTo>
                  <a:pt x="6803" y="893"/>
                </a:lnTo>
                <a:lnTo>
                  <a:pt x="6795" y="899"/>
                </a:lnTo>
                <a:lnTo>
                  <a:pt x="6788" y="905"/>
                </a:lnTo>
                <a:lnTo>
                  <a:pt x="6784" y="909"/>
                </a:lnTo>
                <a:lnTo>
                  <a:pt x="6781" y="912"/>
                </a:lnTo>
                <a:lnTo>
                  <a:pt x="6775" y="920"/>
                </a:lnTo>
                <a:lnTo>
                  <a:pt x="6768" y="928"/>
                </a:lnTo>
                <a:lnTo>
                  <a:pt x="6763" y="936"/>
                </a:lnTo>
                <a:lnTo>
                  <a:pt x="6757" y="945"/>
                </a:lnTo>
                <a:lnTo>
                  <a:pt x="6752" y="955"/>
                </a:lnTo>
                <a:lnTo>
                  <a:pt x="6747" y="965"/>
                </a:lnTo>
                <a:lnTo>
                  <a:pt x="6743" y="976"/>
                </a:lnTo>
                <a:lnTo>
                  <a:pt x="6739" y="987"/>
                </a:lnTo>
                <a:lnTo>
                  <a:pt x="6735" y="999"/>
                </a:lnTo>
                <a:lnTo>
                  <a:pt x="6728" y="1024"/>
                </a:lnTo>
                <a:lnTo>
                  <a:pt x="6726" y="1037"/>
                </a:lnTo>
                <a:lnTo>
                  <a:pt x="6723" y="1051"/>
                </a:lnTo>
                <a:lnTo>
                  <a:pt x="6722" y="1065"/>
                </a:lnTo>
                <a:lnTo>
                  <a:pt x="6720" y="1080"/>
                </a:lnTo>
                <a:lnTo>
                  <a:pt x="6718" y="1095"/>
                </a:lnTo>
                <a:lnTo>
                  <a:pt x="6717" y="1111"/>
                </a:lnTo>
                <a:lnTo>
                  <a:pt x="6716" y="1127"/>
                </a:lnTo>
                <a:lnTo>
                  <a:pt x="6716" y="1144"/>
                </a:lnTo>
                <a:lnTo>
                  <a:pt x="6716" y="1625"/>
                </a:lnTo>
                <a:lnTo>
                  <a:pt x="6430" y="1625"/>
                </a:lnTo>
                <a:lnTo>
                  <a:pt x="6430" y="1125"/>
                </a:lnTo>
                <a:lnTo>
                  <a:pt x="6429" y="1093"/>
                </a:lnTo>
                <a:lnTo>
                  <a:pt x="6428" y="1064"/>
                </a:lnTo>
                <a:lnTo>
                  <a:pt x="6427" y="1038"/>
                </a:lnTo>
                <a:lnTo>
                  <a:pt x="6426" y="1026"/>
                </a:lnTo>
                <a:lnTo>
                  <a:pt x="6425" y="1015"/>
                </a:lnTo>
                <a:lnTo>
                  <a:pt x="6423" y="1005"/>
                </a:lnTo>
                <a:lnTo>
                  <a:pt x="6422" y="995"/>
                </a:lnTo>
                <a:lnTo>
                  <a:pt x="6418" y="977"/>
                </a:lnTo>
                <a:lnTo>
                  <a:pt x="6414" y="961"/>
                </a:lnTo>
                <a:lnTo>
                  <a:pt x="6409" y="946"/>
                </a:lnTo>
                <a:lnTo>
                  <a:pt x="6404" y="936"/>
                </a:lnTo>
                <a:lnTo>
                  <a:pt x="6400" y="927"/>
                </a:lnTo>
                <a:lnTo>
                  <a:pt x="6395" y="919"/>
                </a:lnTo>
                <a:lnTo>
                  <a:pt x="6389" y="911"/>
                </a:lnTo>
                <a:lnTo>
                  <a:pt x="6383" y="904"/>
                </a:lnTo>
                <a:lnTo>
                  <a:pt x="6376" y="897"/>
                </a:lnTo>
                <a:lnTo>
                  <a:pt x="6373" y="894"/>
                </a:lnTo>
                <a:lnTo>
                  <a:pt x="6369" y="891"/>
                </a:lnTo>
                <a:lnTo>
                  <a:pt x="6362" y="886"/>
                </a:lnTo>
                <a:lnTo>
                  <a:pt x="6354" y="881"/>
                </a:lnTo>
                <a:lnTo>
                  <a:pt x="6346" y="877"/>
                </a:lnTo>
                <a:lnTo>
                  <a:pt x="6337" y="873"/>
                </a:lnTo>
                <a:lnTo>
                  <a:pt x="6328" y="870"/>
                </a:lnTo>
                <a:lnTo>
                  <a:pt x="6318" y="868"/>
                </a:lnTo>
                <a:lnTo>
                  <a:pt x="6307" y="866"/>
                </a:lnTo>
                <a:lnTo>
                  <a:pt x="6297" y="865"/>
                </a:lnTo>
                <a:lnTo>
                  <a:pt x="6286" y="865"/>
                </a:lnTo>
                <a:lnTo>
                  <a:pt x="6272" y="865"/>
                </a:lnTo>
                <a:lnTo>
                  <a:pt x="6265" y="866"/>
                </a:lnTo>
                <a:lnTo>
                  <a:pt x="6258" y="867"/>
                </a:lnTo>
                <a:lnTo>
                  <a:pt x="6244" y="871"/>
                </a:lnTo>
                <a:lnTo>
                  <a:pt x="6238" y="873"/>
                </a:lnTo>
                <a:lnTo>
                  <a:pt x="6231" y="875"/>
                </a:lnTo>
                <a:lnTo>
                  <a:pt x="6218" y="881"/>
                </a:lnTo>
                <a:lnTo>
                  <a:pt x="6212" y="884"/>
                </a:lnTo>
                <a:lnTo>
                  <a:pt x="6206" y="888"/>
                </a:lnTo>
                <a:lnTo>
                  <a:pt x="6195" y="896"/>
                </a:lnTo>
                <a:lnTo>
                  <a:pt x="6189" y="900"/>
                </a:lnTo>
                <a:lnTo>
                  <a:pt x="6184" y="905"/>
                </a:lnTo>
                <a:lnTo>
                  <a:pt x="6173" y="915"/>
                </a:lnTo>
                <a:lnTo>
                  <a:pt x="6164" y="926"/>
                </a:lnTo>
                <a:lnTo>
                  <a:pt x="6159" y="932"/>
                </a:lnTo>
                <a:lnTo>
                  <a:pt x="6154" y="939"/>
                </a:lnTo>
                <a:lnTo>
                  <a:pt x="6150" y="945"/>
                </a:lnTo>
                <a:lnTo>
                  <a:pt x="6146" y="952"/>
                </a:lnTo>
                <a:lnTo>
                  <a:pt x="6142" y="959"/>
                </a:lnTo>
                <a:lnTo>
                  <a:pt x="6138" y="966"/>
                </a:lnTo>
                <a:lnTo>
                  <a:pt x="6135" y="973"/>
                </a:lnTo>
                <a:lnTo>
                  <a:pt x="6132" y="981"/>
                </a:lnTo>
                <a:lnTo>
                  <a:pt x="6129" y="988"/>
                </a:lnTo>
                <a:lnTo>
                  <a:pt x="6126" y="996"/>
                </a:lnTo>
                <a:lnTo>
                  <a:pt x="6121" y="1013"/>
                </a:lnTo>
                <a:lnTo>
                  <a:pt x="6117" y="1027"/>
                </a:lnTo>
                <a:lnTo>
                  <a:pt x="6115" y="1034"/>
                </a:lnTo>
                <a:lnTo>
                  <a:pt x="6114" y="1042"/>
                </a:lnTo>
                <a:lnTo>
                  <a:pt x="6111" y="1058"/>
                </a:lnTo>
                <a:lnTo>
                  <a:pt x="6109" y="1076"/>
                </a:lnTo>
                <a:lnTo>
                  <a:pt x="6108" y="1095"/>
                </a:lnTo>
                <a:lnTo>
                  <a:pt x="6107" y="1115"/>
                </a:lnTo>
                <a:lnTo>
                  <a:pt x="6106" y="1137"/>
                </a:lnTo>
                <a:lnTo>
                  <a:pt x="6106" y="1161"/>
                </a:lnTo>
                <a:lnTo>
                  <a:pt x="6106" y="1625"/>
                </a:lnTo>
                <a:lnTo>
                  <a:pt x="5820" y="1625"/>
                </a:lnTo>
                <a:lnTo>
                  <a:pt x="5820" y="1125"/>
                </a:lnTo>
                <a:lnTo>
                  <a:pt x="5820" y="626"/>
                </a:lnTo>
                <a:lnTo>
                  <a:pt x="6095" y="626"/>
                </a:lnTo>
                <a:lnTo>
                  <a:pt x="6095" y="830"/>
                </a:lnTo>
                <a:lnTo>
                  <a:pt x="6110" y="802"/>
                </a:lnTo>
                <a:lnTo>
                  <a:pt x="6117" y="789"/>
                </a:lnTo>
                <a:lnTo>
                  <a:pt x="6124" y="776"/>
                </a:lnTo>
                <a:lnTo>
                  <a:pt x="6132" y="764"/>
                </a:lnTo>
                <a:lnTo>
                  <a:pt x="6140" y="752"/>
                </a:lnTo>
                <a:lnTo>
                  <a:pt x="6155" y="730"/>
                </a:lnTo>
                <a:lnTo>
                  <a:pt x="6163" y="720"/>
                </a:lnTo>
                <a:lnTo>
                  <a:pt x="6172" y="710"/>
                </a:lnTo>
                <a:lnTo>
                  <a:pt x="6180" y="700"/>
                </a:lnTo>
                <a:lnTo>
                  <a:pt x="6189" y="691"/>
                </a:lnTo>
                <a:lnTo>
                  <a:pt x="6198" y="683"/>
                </a:lnTo>
                <a:lnTo>
                  <a:pt x="6207" y="675"/>
                </a:lnTo>
                <a:lnTo>
                  <a:pt x="6211" y="671"/>
                </a:lnTo>
                <a:lnTo>
                  <a:pt x="6216" y="667"/>
                </a:lnTo>
                <a:lnTo>
                  <a:pt x="6225" y="660"/>
                </a:lnTo>
                <a:lnTo>
                  <a:pt x="6235" y="653"/>
                </a:lnTo>
                <a:lnTo>
                  <a:pt x="6245" y="647"/>
                </a:lnTo>
                <a:lnTo>
                  <a:pt x="6255" y="641"/>
                </a:lnTo>
                <a:lnTo>
                  <a:pt x="6265" y="636"/>
                </a:lnTo>
                <a:lnTo>
                  <a:pt x="6276" y="631"/>
                </a:lnTo>
                <a:lnTo>
                  <a:pt x="6287" y="626"/>
                </a:lnTo>
                <a:lnTo>
                  <a:pt x="6298" y="622"/>
                </a:lnTo>
                <a:lnTo>
                  <a:pt x="6309" y="619"/>
                </a:lnTo>
                <a:lnTo>
                  <a:pt x="6322" y="615"/>
                </a:lnTo>
                <a:lnTo>
                  <a:pt x="6334" y="613"/>
                </a:lnTo>
                <a:lnTo>
                  <a:pt x="6346" y="610"/>
                </a:lnTo>
                <a:lnTo>
                  <a:pt x="6359" y="608"/>
                </a:lnTo>
                <a:lnTo>
                  <a:pt x="6371" y="607"/>
                </a:lnTo>
                <a:lnTo>
                  <a:pt x="6385" y="606"/>
                </a:lnTo>
                <a:lnTo>
                  <a:pt x="6398" y="605"/>
                </a:lnTo>
                <a:lnTo>
                  <a:pt x="6412" y="605"/>
                </a:lnTo>
                <a:lnTo>
                  <a:pt x="6426" y="605"/>
                </a:lnTo>
                <a:lnTo>
                  <a:pt x="6439" y="606"/>
                </a:lnTo>
                <a:lnTo>
                  <a:pt x="6452" y="607"/>
                </a:lnTo>
                <a:lnTo>
                  <a:pt x="6464" y="609"/>
                </a:lnTo>
                <a:lnTo>
                  <a:pt x="6476" y="611"/>
                </a:lnTo>
                <a:lnTo>
                  <a:pt x="6488" y="613"/>
                </a:lnTo>
                <a:lnTo>
                  <a:pt x="6500" y="616"/>
                </a:lnTo>
                <a:lnTo>
                  <a:pt x="6511" y="620"/>
                </a:lnTo>
                <a:lnTo>
                  <a:pt x="6522" y="623"/>
                </a:lnTo>
                <a:lnTo>
                  <a:pt x="6532" y="628"/>
                </a:lnTo>
                <a:lnTo>
                  <a:pt x="6542" y="632"/>
                </a:lnTo>
                <a:lnTo>
                  <a:pt x="6552" y="638"/>
                </a:lnTo>
                <a:lnTo>
                  <a:pt x="6562" y="643"/>
                </a:lnTo>
                <a:lnTo>
                  <a:pt x="6571" y="649"/>
                </a:lnTo>
                <a:lnTo>
                  <a:pt x="6580" y="656"/>
                </a:lnTo>
                <a:lnTo>
                  <a:pt x="6588" y="663"/>
                </a:lnTo>
                <a:lnTo>
                  <a:pt x="6596" y="670"/>
                </a:lnTo>
                <a:lnTo>
                  <a:pt x="6604" y="678"/>
                </a:lnTo>
                <a:lnTo>
                  <a:pt x="6612" y="687"/>
                </a:lnTo>
                <a:lnTo>
                  <a:pt x="6619" y="696"/>
                </a:lnTo>
                <a:lnTo>
                  <a:pt x="6626" y="705"/>
                </a:lnTo>
                <a:lnTo>
                  <a:pt x="6633" y="715"/>
                </a:lnTo>
                <a:lnTo>
                  <a:pt x="6645" y="735"/>
                </a:lnTo>
                <a:lnTo>
                  <a:pt x="6656" y="758"/>
                </a:lnTo>
                <a:lnTo>
                  <a:pt x="6661" y="770"/>
                </a:lnTo>
                <a:lnTo>
                  <a:pt x="6666" y="782"/>
                </a:lnTo>
                <a:lnTo>
                  <a:pt x="6674" y="809"/>
                </a:lnTo>
                <a:lnTo>
                  <a:pt x="6678" y="822"/>
                </a:lnTo>
                <a:lnTo>
                  <a:pt x="6681" y="837"/>
                </a:lnTo>
                <a:lnTo>
                  <a:pt x="6688" y="822"/>
                </a:lnTo>
                <a:lnTo>
                  <a:pt x="6695" y="808"/>
                </a:lnTo>
                <a:lnTo>
                  <a:pt x="6702" y="794"/>
                </a:lnTo>
                <a:lnTo>
                  <a:pt x="6709" y="781"/>
                </a:lnTo>
                <a:lnTo>
                  <a:pt x="6716" y="769"/>
                </a:lnTo>
                <a:lnTo>
                  <a:pt x="6725" y="756"/>
                </a:lnTo>
                <a:lnTo>
                  <a:pt x="6732" y="745"/>
                </a:lnTo>
                <a:lnTo>
                  <a:pt x="6740" y="734"/>
                </a:lnTo>
                <a:lnTo>
                  <a:pt x="6757" y="713"/>
                </a:lnTo>
                <a:lnTo>
                  <a:pt x="6766" y="703"/>
                </a:lnTo>
                <a:lnTo>
                  <a:pt x="6774" y="694"/>
                </a:lnTo>
                <a:lnTo>
                  <a:pt x="6784" y="685"/>
                </a:lnTo>
                <a:lnTo>
                  <a:pt x="6793" y="677"/>
                </a:lnTo>
                <a:lnTo>
                  <a:pt x="6802" y="669"/>
                </a:lnTo>
                <a:lnTo>
                  <a:pt x="6812" y="661"/>
                </a:lnTo>
                <a:lnTo>
                  <a:pt x="6822" y="655"/>
                </a:lnTo>
                <a:lnTo>
                  <a:pt x="6832" y="648"/>
                </a:lnTo>
                <a:lnTo>
                  <a:pt x="6843" y="642"/>
                </a:lnTo>
                <a:lnTo>
                  <a:pt x="6853" y="637"/>
                </a:lnTo>
                <a:lnTo>
                  <a:pt x="6864" y="631"/>
                </a:lnTo>
                <a:lnTo>
                  <a:pt x="6876" y="627"/>
                </a:lnTo>
                <a:lnTo>
                  <a:pt x="6887" y="623"/>
                </a:lnTo>
                <a:lnTo>
                  <a:pt x="6899" y="619"/>
                </a:lnTo>
                <a:lnTo>
                  <a:pt x="6911" y="616"/>
                </a:lnTo>
                <a:lnTo>
                  <a:pt x="6923" y="613"/>
                </a:lnTo>
                <a:lnTo>
                  <a:pt x="6935" y="610"/>
                </a:lnTo>
                <a:lnTo>
                  <a:pt x="6948" y="609"/>
                </a:lnTo>
                <a:lnTo>
                  <a:pt x="6961" y="607"/>
                </a:lnTo>
                <a:lnTo>
                  <a:pt x="6974" y="606"/>
                </a:lnTo>
                <a:lnTo>
                  <a:pt x="7001" y="605"/>
                </a:lnTo>
                <a:lnTo>
                  <a:pt x="7024" y="606"/>
                </a:lnTo>
                <a:lnTo>
                  <a:pt x="7046" y="608"/>
                </a:lnTo>
                <a:lnTo>
                  <a:pt x="7057" y="609"/>
                </a:lnTo>
                <a:lnTo>
                  <a:pt x="7068" y="611"/>
                </a:lnTo>
                <a:lnTo>
                  <a:pt x="7089" y="615"/>
                </a:lnTo>
                <a:lnTo>
                  <a:pt x="7099" y="618"/>
                </a:lnTo>
                <a:lnTo>
                  <a:pt x="7109" y="620"/>
                </a:lnTo>
                <a:lnTo>
                  <a:pt x="7130" y="627"/>
                </a:lnTo>
                <a:lnTo>
                  <a:pt x="7140" y="631"/>
                </a:lnTo>
                <a:lnTo>
                  <a:pt x="7149" y="634"/>
                </a:lnTo>
                <a:lnTo>
                  <a:pt x="7158" y="639"/>
                </a:lnTo>
                <a:lnTo>
                  <a:pt x="7167" y="643"/>
                </a:lnTo>
                <a:lnTo>
                  <a:pt x="7176" y="648"/>
                </a:lnTo>
                <a:lnTo>
                  <a:pt x="7185" y="653"/>
                </a:lnTo>
                <a:lnTo>
                  <a:pt x="7202" y="664"/>
                </a:lnTo>
                <a:lnTo>
                  <a:pt x="7209" y="669"/>
                </a:lnTo>
                <a:lnTo>
                  <a:pt x="7217" y="675"/>
                </a:lnTo>
                <a:lnTo>
                  <a:pt x="7232" y="688"/>
                </a:lnTo>
                <a:lnTo>
                  <a:pt x="7239" y="694"/>
                </a:lnTo>
                <a:lnTo>
                  <a:pt x="7245" y="701"/>
                </a:lnTo>
                <a:lnTo>
                  <a:pt x="7258" y="716"/>
                </a:lnTo>
                <a:lnTo>
                  <a:pt x="7264" y="723"/>
                </a:lnTo>
                <a:lnTo>
                  <a:pt x="7269" y="731"/>
                </a:lnTo>
                <a:lnTo>
                  <a:pt x="7274" y="739"/>
                </a:lnTo>
                <a:lnTo>
                  <a:pt x="7279" y="747"/>
                </a:lnTo>
                <a:lnTo>
                  <a:pt x="7286" y="759"/>
                </a:lnTo>
                <a:lnTo>
                  <a:pt x="7291" y="771"/>
                </a:lnTo>
                <a:lnTo>
                  <a:pt x="7297" y="783"/>
                </a:lnTo>
                <a:lnTo>
                  <a:pt x="7302" y="797"/>
                </a:lnTo>
                <a:lnTo>
                  <a:pt x="7306" y="811"/>
                </a:lnTo>
                <a:lnTo>
                  <a:pt x="7310" y="826"/>
                </a:lnTo>
                <a:lnTo>
                  <a:pt x="7313" y="843"/>
                </a:lnTo>
                <a:lnTo>
                  <a:pt x="7316" y="860"/>
                </a:lnTo>
                <a:lnTo>
                  <a:pt x="7319" y="879"/>
                </a:lnTo>
                <a:lnTo>
                  <a:pt x="7321" y="899"/>
                </a:lnTo>
                <a:lnTo>
                  <a:pt x="7323" y="920"/>
                </a:lnTo>
                <a:lnTo>
                  <a:pt x="7325" y="943"/>
                </a:lnTo>
                <a:lnTo>
                  <a:pt x="7327" y="994"/>
                </a:lnTo>
                <a:lnTo>
                  <a:pt x="7327" y="1022"/>
                </a:lnTo>
                <a:lnTo>
                  <a:pt x="7327" y="1052"/>
                </a:lnTo>
                <a:lnTo>
                  <a:pt x="7327" y="1625"/>
                </a:lnTo>
                <a:close/>
                <a:moveTo>
                  <a:pt x="5711" y="1139"/>
                </a:moveTo>
                <a:lnTo>
                  <a:pt x="5711" y="1174"/>
                </a:lnTo>
                <a:lnTo>
                  <a:pt x="5710" y="1206"/>
                </a:lnTo>
                <a:lnTo>
                  <a:pt x="5708" y="1237"/>
                </a:lnTo>
                <a:lnTo>
                  <a:pt x="5706" y="1266"/>
                </a:lnTo>
                <a:lnTo>
                  <a:pt x="5702" y="1293"/>
                </a:lnTo>
                <a:lnTo>
                  <a:pt x="5699" y="1319"/>
                </a:lnTo>
                <a:lnTo>
                  <a:pt x="5694" y="1343"/>
                </a:lnTo>
                <a:lnTo>
                  <a:pt x="5689" y="1366"/>
                </a:lnTo>
                <a:lnTo>
                  <a:pt x="5683" y="1387"/>
                </a:lnTo>
                <a:lnTo>
                  <a:pt x="5676" y="1407"/>
                </a:lnTo>
                <a:lnTo>
                  <a:pt x="5668" y="1426"/>
                </a:lnTo>
                <a:lnTo>
                  <a:pt x="5660" y="1444"/>
                </a:lnTo>
                <a:lnTo>
                  <a:pt x="5655" y="1452"/>
                </a:lnTo>
                <a:lnTo>
                  <a:pt x="5651" y="1461"/>
                </a:lnTo>
                <a:lnTo>
                  <a:pt x="5640" y="1477"/>
                </a:lnTo>
                <a:lnTo>
                  <a:pt x="5630" y="1492"/>
                </a:lnTo>
                <a:lnTo>
                  <a:pt x="5618" y="1506"/>
                </a:lnTo>
                <a:lnTo>
                  <a:pt x="5610" y="1515"/>
                </a:lnTo>
                <a:lnTo>
                  <a:pt x="5603" y="1523"/>
                </a:lnTo>
                <a:lnTo>
                  <a:pt x="5594" y="1531"/>
                </a:lnTo>
                <a:lnTo>
                  <a:pt x="5586" y="1539"/>
                </a:lnTo>
                <a:lnTo>
                  <a:pt x="5569" y="1553"/>
                </a:lnTo>
                <a:lnTo>
                  <a:pt x="5550" y="1567"/>
                </a:lnTo>
                <a:lnTo>
                  <a:pt x="5541" y="1574"/>
                </a:lnTo>
                <a:lnTo>
                  <a:pt x="5531" y="1580"/>
                </a:lnTo>
                <a:lnTo>
                  <a:pt x="5510" y="1591"/>
                </a:lnTo>
                <a:lnTo>
                  <a:pt x="5500" y="1597"/>
                </a:lnTo>
                <a:lnTo>
                  <a:pt x="5488" y="1602"/>
                </a:lnTo>
                <a:lnTo>
                  <a:pt x="5466" y="1612"/>
                </a:lnTo>
                <a:lnTo>
                  <a:pt x="5443" y="1620"/>
                </a:lnTo>
                <a:lnTo>
                  <a:pt x="5431" y="1624"/>
                </a:lnTo>
                <a:lnTo>
                  <a:pt x="5419" y="1627"/>
                </a:lnTo>
                <a:lnTo>
                  <a:pt x="5394" y="1634"/>
                </a:lnTo>
                <a:lnTo>
                  <a:pt x="5368" y="1639"/>
                </a:lnTo>
                <a:lnTo>
                  <a:pt x="5355" y="1641"/>
                </a:lnTo>
                <a:lnTo>
                  <a:pt x="5342" y="1643"/>
                </a:lnTo>
                <a:lnTo>
                  <a:pt x="5315" y="1646"/>
                </a:lnTo>
                <a:lnTo>
                  <a:pt x="5287" y="1648"/>
                </a:lnTo>
                <a:lnTo>
                  <a:pt x="5272" y="1648"/>
                </a:lnTo>
                <a:lnTo>
                  <a:pt x="5258" y="1648"/>
                </a:lnTo>
                <a:lnTo>
                  <a:pt x="5234" y="1648"/>
                </a:lnTo>
                <a:lnTo>
                  <a:pt x="5210" y="1647"/>
                </a:lnTo>
                <a:lnTo>
                  <a:pt x="5186" y="1645"/>
                </a:lnTo>
                <a:lnTo>
                  <a:pt x="5163" y="1642"/>
                </a:lnTo>
                <a:lnTo>
                  <a:pt x="5141" y="1638"/>
                </a:lnTo>
                <a:lnTo>
                  <a:pt x="5119" y="1634"/>
                </a:lnTo>
                <a:lnTo>
                  <a:pt x="5098" y="1629"/>
                </a:lnTo>
                <a:lnTo>
                  <a:pt x="5076" y="1623"/>
                </a:lnTo>
                <a:lnTo>
                  <a:pt x="5056" y="1617"/>
                </a:lnTo>
                <a:lnTo>
                  <a:pt x="5036" y="1610"/>
                </a:lnTo>
                <a:lnTo>
                  <a:pt x="5017" y="1601"/>
                </a:lnTo>
                <a:lnTo>
                  <a:pt x="4999" y="1593"/>
                </a:lnTo>
                <a:lnTo>
                  <a:pt x="4982" y="1583"/>
                </a:lnTo>
                <a:lnTo>
                  <a:pt x="4965" y="1573"/>
                </a:lnTo>
                <a:lnTo>
                  <a:pt x="4949" y="1562"/>
                </a:lnTo>
                <a:lnTo>
                  <a:pt x="4934" y="1550"/>
                </a:lnTo>
                <a:lnTo>
                  <a:pt x="4916" y="1534"/>
                </a:lnTo>
                <a:lnTo>
                  <a:pt x="4907" y="1526"/>
                </a:lnTo>
                <a:lnTo>
                  <a:pt x="4899" y="1518"/>
                </a:lnTo>
                <a:lnTo>
                  <a:pt x="4891" y="1510"/>
                </a:lnTo>
                <a:lnTo>
                  <a:pt x="4884" y="1501"/>
                </a:lnTo>
                <a:lnTo>
                  <a:pt x="4870" y="1483"/>
                </a:lnTo>
                <a:lnTo>
                  <a:pt x="4864" y="1474"/>
                </a:lnTo>
                <a:lnTo>
                  <a:pt x="4858" y="1465"/>
                </a:lnTo>
                <a:lnTo>
                  <a:pt x="4852" y="1455"/>
                </a:lnTo>
                <a:lnTo>
                  <a:pt x="4847" y="1445"/>
                </a:lnTo>
                <a:lnTo>
                  <a:pt x="4842" y="1435"/>
                </a:lnTo>
                <a:lnTo>
                  <a:pt x="4837" y="1424"/>
                </a:lnTo>
                <a:lnTo>
                  <a:pt x="4833" y="1413"/>
                </a:lnTo>
                <a:lnTo>
                  <a:pt x="4829" y="1402"/>
                </a:lnTo>
                <a:lnTo>
                  <a:pt x="4825" y="1390"/>
                </a:lnTo>
                <a:lnTo>
                  <a:pt x="4821" y="1378"/>
                </a:lnTo>
                <a:lnTo>
                  <a:pt x="4815" y="1352"/>
                </a:lnTo>
                <a:lnTo>
                  <a:pt x="4812" y="1338"/>
                </a:lnTo>
                <a:lnTo>
                  <a:pt x="4810" y="1324"/>
                </a:lnTo>
                <a:lnTo>
                  <a:pt x="4808" y="1310"/>
                </a:lnTo>
                <a:lnTo>
                  <a:pt x="4806" y="1295"/>
                </a:lnTo>
                <a:lnTo>
                  <a:pt x="4803" y="1263"/>
                </a:lnTo>
                <a:lnTo>
                  <a:pt x="4801" y="1246"/>
                </a:lnTo>
                <a:lnTo>
                  <a:pt x="4801" y="1228"/>
                </a:lnTo>
                <a:lnTo>
                  <a:pt x="4799" y="1191"/>
                </a:lnTo>
                <a:lnTo>
                  <a:pt x="4799" y="1152"/>
                </a:lnTo>
                <a:lnTo>
                  <a:pt x="4799" y="626"/>
                </a:lnTo>
                <a:lnTo>
                  <a:pt x="5083" y="626"/>
                </a:lnTo>
                <a:lnTo>
                  <a:pt x="5083" y="1156"/>
                </a:lnTo>
                <a:lnTo>
                  <a:pt x="5084" y="1189"/>
                </a:lnTo>
                <a:lnTo>
                  <a:pt x="5084" y="1204"/>
                </a:lnTo>
                <a:lnTo>
                  <a:pt x="5085" y="1219"/>
                </a:lnTo>
                <a:lnTo>
                  <a:pt x="5088" y="1247"/>
                </a:lnTo>
                <a:lnTo>
                  <a:pt x="5093" y="1272"/>
                </a:lnTo>
                <a:lnTo>
                  <a:pt x="5096" y="1284"/>
                </a:lnTo>
                <a:lnTo>
                  <a:pt x="5099" y="1295"/>
                </a:lnTo>
                <a:lnTo>
                  <a:pt x="5102" y="1306"/>
                </a:lnTo>
                <a:lnTo>
                  <a:pt x="5105" y="1316"/>
                </a:lnTo>
                <a:lnTo>
                  <a:pt x="5109" y="1325"/>
                </a:lnTo>
                <a:lnTo>
                  <a:pt x="5113" y="1334"/>
                </a:lnTo>
                <a:lnTo>
                  <a:pt x="5118" y="1342"/>
                </a:lnTo>
                <a:lnTo>
                  <a:pt x="5123" y="1350"/>
                </a:lnTo>
                <a:lnTo>
                  <a:pt x="5128" y="1357"/>
                </a:lnTo>
                <a:lnTo>
                  <a:pt x="5134" y="1364"/>
                </a:lnTo>
                <a:lnTo>
                  <a:pt x="5137" y="1367"/>
                </a:lnTo>
                <a:lnTo>
                  <a:pt x="5140" y="1370"/>
                </a:lnTo>
                <a:lnTo>
                  <a:pt x="5147" y="1375"/>
                </a:lnTo>
                <a:lnTo>
                  <a:pt x="5154" y="1380"/>
                </a:lnTo>
                <a:lnTo>
                  <a:pt x="5157" y="1383"/>
                </a:lnTo>
                <a:lnTo>
                  <a:pt x="5161" y="1385"/>
                </a:lnTo>
                <a:lnTo>
                  <a:pt x="5169" y="1389"/>
                </a:lnTo>
                <a:lnTo>
                  <a:pt x="5177" y="1393"/>
                </a:lnTo>
                <a:lnTo>
                  <a:pt x="5186" y="1396"/>
                </a:lnTo>
                <a:lnTo>
                  <a:pt x="5195" y="1399"/>
                </a:lnTo>
                <a:lnTo>
                  <a:pt x="5205" y="1401"/>
                </a:lnTo>
                <a:lnTo>
                  <a:pt x="5215" y="1403"/>
                </a:lnTo>
                <a:lnTo>
                  <a:pt x="5225" y="1404"/>
                </a:lnTo>
                <a:lnTo>
                  <a:pt x="5237" y="1405"/>
                </a:lnTo>
                <a:lnTo>
                  <a:pt x="5248" y="1406"/>
                </a:lnTo>
                <a:lnTo>
                  <a:pt x="5260" y="1406"/>
                </a:lnTo>
                <a:lnTo>
                  <a:pt x="5272" y="1406"/>
                </a:lnTo>
                <a:lnTo>
                  <a:pt x="5283" y="1405"/>
                </a:lnTo>
                <a:lnTo>
                  <a:pt x="5294" y="1404"/>
                </a:lnTo>
                <a:lnTo>
                  <a:pt x="5304" y="1403"/>
                </a:lnTo>
                <a:lnTo>
                  <a:pt x="5314" y="1401"/>
                </a:lnTo>
                <a:lnTo>
                  <a:pt x="5323" y="1399"/>
                </a:lnTo>
                <a:lnTo>
                  <a:pt x="5331" y="1396"/>
                </a:lnTo>
                <a:lnTo>
                  <a:pt x="5340" y="1393"/>
                </a:lnTo>
                <a:lnTo>
                  <a:pt x="5348" y="1389"/>
                </a:lnTo>
                <a:lnTo>
                  <a:pt x="5355" y="1385"/>
                </a:lnTo>
                <a:lnTo>
                  <a:pt x="5362" y="1380"/>
                </a:lnTo>
                <a:lnTo>
                  <a:pt x="5368" y="1374"/>
                </a:lnTo>
                <a:lnTo>
                  <a:pt x="5375" y="1369"/>
                </a:lnTo>
                <a:lnTo>
                  <a:pt x="5380" y="1362"/>
                </a:lnTo>
                <a:lnTo>
                  <a:pt x="5383" y="1359"/>
                </a:lnTo>
                <a:lnTo>
                  <a:pt x="5386" y="1355"/>
                </a:lnTo>
                <a:lnTo>
                  <a:pt x="5391" y="1348"/>
                </a:lnTo>
                <a:lnTo>
                  <a:pt x="5395" y="1340"/>
                </a:lnTo>
                <a:lnTo>
                  <a:pt x="5399" y="1331"/>
                </a:lnTo>
                <a:lnTo>
                  <a:pt x="5401" y="1326"/>
                </a:lnTo>
                <a:lnTo>
                  <a:pt x="5403" y="1322"/>
                </a:lnTo>
                <a:lnTo>
                  <a:pt x="5407" y="1312"/>
                </a:lnTo>
                <a:lnTo>
                  <a:pt x="5410" y="1301"/>
                </a:lnTo>
                <a:lnTo>
                  <a:pt x="5413" y="1290"/>
                </a:lnTo>
                <a:lnTo>
                  <a:pt x="5415" y="1278"/>
                </a:lnTo>
                <a:lnTo>
                  <a:pt x="5418" y="1265"/>
                </a:lnTo>
                <a:lnTo>
                  <a:pt x="5420" y="1252"/>
                </a:lnTo>
                <a:lnTo>
                  <a:pt x="5421" y="1238"/>
                </a:lnTo>
                <a:lnTo>
                  <a:pt x="5424" y="1208"/>
                </a:lnTo>
                <a:lnTo>
                  <a:pt x="5425" y="1192"/>
                </a:lnTo>
                <a:lnTo>
                  <a:pt x="5425" y="1175"/>
                </a:lnTo>
                <a:lnTo>
                  <a:pt x="5426" y="1139"/>
                </a:lnTo>
                <a:lnTo>
                  <a:pt x="5426" y="626"/>
                </a:lnTo>
                <a:lnTo>
                  <a:pt x="5711" y="626"/>
                </a:lnTo>
                <a:lnTo>
                  <a:pt x="5711" y="1139"/>
                </a:lnTo>
                <a:close/>
                <a:moveTo>
                  <a:pt x="4705" y="1625"/>
                </a:moveTo>
                <a:lnTo>
                  <a:pt x="4678" y="1630"/>
                </a:lnTo>
                <a:lnTo>
                  <a:pt x="4654" y="1634"/>
                </a:lnTo>
                <a:lnTo>
                  <a:pt x="4631" y="1638"/>
                </a:lnTo>
                <a:lnTo>
                  <a:pt x="4608" y="1640"/>
                </a:lnTo>
                <a:lnTo>
                  <a:pt x="4586" y="1642"/>
                </a:lnTo>
                <a:lnTo>
                  <a:pt x="4564" y="1643"/>
                </a:lnTo>
                <a:lnTo>
                  <a:pt x="4540" y="1644"/>
                </a:lnTo>
                <a:lnTo>
                  <a:pt x="4516" y="1644"/>
                </a:lnTo>
                <a:lnTo>
                  <a:pt x="4492" y="1644"/>
                </a:lnTo>
                <a:lnTo>
                  <a:pt x="4469" y="1643"/>
                </a:lnTo>
                <a:lnTo>
                  <a:pt x="4446" y="1641"/>
                </a:lnTo>
                <a:lnTo>
                  <a:pt x="4424" y="1639"/>
                </a:lnTo>
                <a:lnTo>
                  <a:pt x="4403" y="1636"/>
                </a:lnTo>
                <a:lnTo>
                  <a:pt x="4393" y="1634"/>
                </a:lnTo>
                <a:lnTo>
                  <a:pt x="4383" y="1632"/>
                </a:lnTo>
                <a:lnTo>
                  <a:pt x="4374" y="1630"/>
                </a:lnTo>
                <a:lnTo>
                  <a:pt x="4364" y="1627"/>
                </a:lnTo>
                <a:lnTo>
                  <a:pt x="4346" y="1622"/>
                </a:lnTo>
                <a:lnTo>
                  <a:pt x="4328" y="1617"/>
                </a:lnTo>
                <a:lnTo>
                  <a:pt x="4311" y="1610"/>
                </a:lnTo>
                <a:lnTo>
                  <a:pt x="4295" y="1603"/>
                </a:lnTo>
                <a:lnTo>
                  <a:pt x="4280" y="1595"/>
                </a:lnTo>
                <a:lnTo>
                  <a:pt x="4265" y="1586"/>
                </a:lnTo>
                <a:lnTo>
                  <a:pt x="4251" y="1577"/>
                </a:lnTo>
                <a:lnTo>
                  <a:pt x="4244" y="1572"/>
                </a:lnTo>
                <a:lnTo>
                  <a:pt x="4238" y="1566"/>
                </a:lnTo>
                <a:lnTo>
                  <a:pt x="4232" y="1561"/>
                </a:lnTo>
                <a:lnTo>
                  <a:pt x="4226" y="1556"/>
                </a:lnTo>
                <a:lnTo>
                  <a:pt x="4220" y="1550"/>
                </a:lnTo>
                <a:lnTo>
                  <a:pt x="4215" y="1544"/>
                </a:lnTo>
                <a:lnTo>
                  <a:pt x="4209" y="1538"/>
                </a:lnTo>
                <a:lnTo>
                  <a:pt x="4204" y="1531"/>
                </a:lnTo>
                <a:lnTo>
                  <a:pt x="4199" y="1525"/>
                </a:lnTo>
                <a:lnTo>
                  <a:pt x="4194" y="1518"/>
                </a:lnTo>
                <a:lnTo>
                  <a:pt x="4190" y="1511"/>
                </a:lnTo>
                <a:lnTo>
                  <a:pt x="4185" y="1504"/>
                </a:lnTo>
                <a:lnTo>
                  <a:pt x="4181" y="1497"/>
                </a:lnTo>
                <a:lnTo>
                  <a:pt x="4177" y="1490"/>
                </a:lnTo>
                <a:lnTo>
                  <a:pt x="4173" y="1482"/>
                </a:lnTo>
                <a:lnTo>
                  <a:pt x="4169" y="1474"/>
                </a:lnTo>
                <a:lnTo>
                  <a:pt x="4166" y="1466"/>
                </a:lnTo>
                <a:lnTo>
                  <a:pt x="4163" y="1458"/>
                </a:lnTo>
                <a:lnTo>
                  <a:pt x="4160" y="1449"/>
                </a:lnTo>
                <a:lnTo>
                  <a:pt x="4157" y="1441"/>
                </a:lnTo>
                <a:lnTo>
                  <a:pt x="4154" y="1432"/>
                </a:lnTo>
                <a:lnTo>
                  <a:pt x="4151" y="1423"/>
                </a:lnTo>
                <a:lnTo>
                  <a:pt x="4149" y="1414"/>
                </a:lnTo>
                <a:lnTo>
                  <a:pt x="4147" y="1404"/>
                </a:lnTo>
                <a:lnTo>
                  <a:pt x="4143" y="1385"/>
                </a:lnTo>
                <a:lnTo>
                  <a:pt x="4140" y="1364"/>
                </a:lnTo>
                <a:lnTo>
                  <a:pt x="4137" y="1343"/>
                </a:lnTo>
                <a:lnTo>
                  <a:pt x="4135" y="1321"/>
                </a:lnTo>
                <a:lnTo>
                  <a:pt x="4134" y="1298"/>
                </a:lnTo>
                <a:lnTo>
                  <a:pt x="4134" y="1275"/>
                </a:lnTo>
                <a:lnTo>
                  <a:pt x="4134" y="871"/>
                </a:lnTo>
                <a:lnTo>
                  <a:pt x="4134" y="467"/>
                </a:lnTo>
                <a:lnTo>
                  <a:pt x="4419" y="307"/>
                </a:lnTo>
                <a:lnTo>
                  <a:pt x="4419" y="634"/>
                </a:lnTo>
                <a:lnTo>
                  <a:pt x="4692" y="634"/>
                </a:lnTo>
                <a:lnTo>
                  <a:pt x="4692" y="861"/>
                </a:lnTo>
                <a:lnTo>
                  <a:pt x="4419" y="861"/>
                </a:lnTo>
                <a:lnTo>
                  <a:pt x="4419" y="1224"/>
                </a:lnTo>
                <a:lnTo>
                  <a:pt x="4420" y="1249"/>
                </a:lnTo>
                <a:lnTo>
                  <a:pt x="4421" y="1261"/>
                </a:lnTo>
                <a:lnTo>
                  <a:pt x="4421" y="1273"/>
                </a:lnTo>
                <a:lnTo>
                  <a:pt x="4424" y="1294"/>
                </a:lnTo>
                <a:lnTo>
                  <a:pt x="4426" y="1304"/>
                </a:lnTo>
                <a:lnTo>
                  <a:pt x="4428" y="1313"/>
                </a:lnTo>
                <a:lnTo>
                  <a:pt x="4430" y="1322"/>
                </a:lnTo>
                <a:lnTo>
                  <a:pt x="4433" y="1331"/>
                </a:lnTo>
                <a:lnTo>
                  <a:pt x="4436" y="1339"/>
                </a:lnTo>
                <a:lnTo>
                  <a:pt x="4439" y="1346"/>
                </a:lnTo>
                <a:lnTo>
                  <a:pt x="4443" y="1353"/>
                </a:lnTo>
                <a:lnTo>
                  <a:pt x="4447" y="1360"/>
                </a:lnTo>
                <a:lnTo>
                  <a:pt x="4451" y="1366"/>
                </a:lnTo>
                <a:lnTo>
                  <a:pt x="4456" y="1372"/>
                </a:lnTo>
                <a:lnTo>
                  <a:pt x="4461" y="1377"/>
                </a:lnTo>
                <a:lnTo>
                  <a:pt x="4466" y="1382"/>
                </a:lnTo>
                <a:lnTo>
                  <a:pt x="4472" y="1387"/>
                </a:lnTo>
                <a:lnTo>
                  <a:pt x="4478" y="1391"/>
                </a:lnTo>
                <a:lnTo>
                  <a:pt x="4485" y="1395"/>
                </a:lnTo>
                <a:lnTo>
                  <a:pt x="4492" y="1398"/>
                </a:lnTo>
                <a:lnTo>
                  <a:pt x="4499" y="1401"/>
                </a:lnTo>
                <a:lnTo>
                  <a:pt x="4507" y="1404"/>
                </a:lnTo>
                <a:lnTo>
                  <a:pt x="4516" y="1406"/>
                </a:lnTo>
                <a:lnTo>
                  <a:pt x="4524" y="1408"/>
                </a:lnTo>
                <a:lnTo>
                  <a:pt x="4534" y="1410"/>
                </a:lnTo>
                <a:lnTo>
                  <a:pt x="4543" y="1411"/>
                </a:lnTo>
                <a:lnTo>
                  <a:pt x="4554" y="1412"/>
                </a:lnTo>
                <a:lnTo>
                  <a:pt x="4564" y="1413"/>
                </a:lnTo>
                <a:lnTo>
                  <a:pt x="4575" y="1414"/>
                </a:lnTo>
                <a:lnTo>
                  <a:pt x="4587" y="1414"/>
                </a:lnTo>
                <a:lnTo>
                  <a:pt x="4616" y="1413"/>
                </a:lnTo>
                <a:lnTo>
                  <a:pt x="4630" y="1413"/>
                </a:lnTo>
                <a:lnTo>
                  <a:pt x="4644" y="1411"/>
                </a:lnTo>
                <a:lnTo>
                  <a:pt x="4672" y="1408"/>
                </a:lnTo>
                <a:lnTo>
                  <a:pt x="4705" y="1401"/>
                </a:lnTo>
                <a:lnTo>
                  <a:pt x="4705" y="1625"/>
                </a:lnTo>
                <a:close/>
                <a:moveTo>
                  <a:pt x="4042" y="900"/>
                </a:moveTo>
                <a:lnTo>
                  <a:pt x="4024" y="892"/>
                </a:lnTo>
                <a:lnTo>
                  <a:pt x="4008" y="886"/>
                </a:lnTo>
                <a:lnTo>
                  <a:pt x="3992" y="881"/>
                </a:lnTo>
                <a:lnTo>
                  <a:pt x="3976" y="877"/>
                </a:lnTo>
                <a:lnTo>
                  <a:pt x="3961" y="874"/>
                </a:lnTo>
                <a:lnTo>
                  <a:pt x="3953" y="873"/>
                </a:lnTo>
                <a:lnTo>
                  <a:pt x="3945" y="872"/>
                </a:lnTo>
                <a:lnTo>
                  <a:pt x="3929" y="871"/>
                </a:lnTo>
                <a:lnTo>
                  <a:pt x="3911" y="871"/>
                </a:lnTo>
                <a:lnTo>
                  <a:pt x="3896" y="871"/>
                </a:lnTo>
                <a:lnTo>
                  <a:pt x="3882" y="872"/>
                </a:lnTo>
                <a:lnTo>
                  <a:pt x="3867" y="874"/>
                </a:lnTo>
                <a:lnTo>
                  <a:pt x="3853" y="876"/>
                </a:lnTo>
                <a:lnTo>
                  <a:pt x="3840" y="879"/>
                </a:lnTo>
                <a:lnTo>
                  <a:pt x="3834" y="881"/>
                </a:lnTo>
                <a:lnTo>
                  <a:pt x="3828" y="883"/>
                </a:lnTo>
                <a:lnTo>
                  <a:pt x="3816" y="887"/>
                </a:lnTo>
                <a:lnTo>
                  <a:pt x="3804" y="892"/>
                </a:lnTo>
                <a:lnTo>
                  <a:pt x="3792" y="898"/>
                </a:lnTo>
                <a:lnTo>
                  <a:pt x="3782" y="904"/>
                </a:lnTo>
                <a:lnTo>
                  <a:pt x="3771" y="911"/>
                </a:lnTo>
                <a:lnTo>
                  <a:pt x="3761" y="919"/>
                </a:lnTo>
                <a:lnTo>
                  <a:pt x="3751" y="927"/>
                </a:lnTo>
                <a:lnTo>
                  <a:pt x="3742" y="935"/>
                </a:lnTo>
                <a:lnTo>
                  <a:pt x="3734" y="944"/>
                </a:lnTo>
                <a:lnTo>
                  <a:pt x="3725" y="954"/>
                </a:lnTo>
                <a:lnTo>
                  <a:pt x="3718" y="965"/>
                </a:lnTo>
                <a:lnTo>
                  <a:pt x="3710" y="975"/>
                </a:lnTo>
                <a:lnTo>
                  <a:pt x="3704" y="987"/>
                </a:lnTo>
                <a:lnTo>
                  <a:pt x="3697" y="999"/>
                </a:lnTo>
                <a:lnTo>
                  <a:pt x="3691" y="1011"/>
                </a:lnTo>
                <a:lnTo>
                  <a:pt x="3689" y="1018"/>
                </a:lnTo>
                <a:lnTo>
                  <a:pt x="3686" y="1024"/>
                </a:lnTo>
                <a:lnTo>
                  <a:pt x="3681" y="1038"/>
                </a:lnTo>
                <a:lnTo>
                  <a:pt x="3677" y="1052"/>
                </a:lnTo>
                <a:lnTo>
                  <a:pt x="3673" y="1067"/>
                </a:lnTo>
                <a:lnTo>
                  <a:pt x="3670" y="1082"/>
                </a:lnTo>
                <a:lnTo>
                  <a:pt x="3667" y="1097"/>
                </a:lnTo>
                <a:lnTo>
                  <a:pt x="3665" y="1105"/>
                </a:lnTo>
                <a:lnTo>
                  <a:pt x="3664" y="1113"/>
                </a:lnTo>
                <a:lnTo>
                  <a:pt x="3662" y="1130"/>
                </a:lnTo>
                <a:lnTo>
                  <a:pt x="3661" y="1146"/>
                </a:lnTo>
                <a:lnTo>
                  <a:pt x="3660" y="1164"/>
                </a:lnTo>
                <a:lnTo>
                  <a:pt x="3660" y="1182"/>
                </a:lnTo>
                <a:lnTo>
                  <a:pt x="3660" y="1625"/>
                </a:lnTo>
                <a:lnTo>
                  <a:pt x="3375" y="1625"/>
                </a:lnTo>
                <a:lnTo>
                  <a:pt x="3375" y="1125"/>
                </a:lnTo>
                <a:lnTo>
                  <a:pt x="3375" y="626"/>
                </a:lnTo>
                <a:lnTo>
                  <a:pt x="3650" y="626"/>
                </a:lnTo>
                <a:lnTo>
                  <a:pt x="3650" y="853"/>
                </a:lnTo>
                <a:lnTo>
                  <a:pt x="3653" y="839"/>
                </a:lnTo>
                <a:lnTo>
                  <a:pt x="3657" y="826"/>
                </a:lnTo>
                <a:lnTo>
                  <a:pt x="3662" y="812"/>
                </a:lnTo>
                <a:lnTo>
                  <a:pt x="3666" y="799"/>
                </a:lnTo>
                <a:lnTo>
                  <a:pt x="3672" y="787"/>
                </a:lnTo>
                <a:lnTo>
                  <a:pt x="3677" y="774"/>
                </a:lnTo>
                <a:lnTo>
                  <a:pt x="3683" y="763"/>
                </a:lnTo>
                <a:lnTo>
                  <a:pt x="3690" y="751"/>
                </a:lnTo>
                <a:lnTo>
                  <a:pt x="3696" y="740"/>
                </a:lnTo>
                <a:lnTo>
                  <a:pt x="3703" y="730"/>
                </a:lnTo>
                <a:lnTo>
                  <a:pt x="3711" y="720"/>
                </a:lnTo>
                <a:lnTo>
                  <a:pt x="3719" y="710"/>
                </a:lnTo>
                <a:lnTo>
                  <a:pt x="3727" y="701"/>
                </a:lnTo>
                <a:lnTo>
                  <a:pt x="3736" y="692"/>
                </a:lnTo>
                <a:lnTo>
                  <a:pt x="3745" y="683"/>
                </a:lnTo>
                <a:lnTo>
                  <a:pt x="3754" y="675"/>
                </a:lnTo>
                <a:lnTo>
                  <a:pt x="3764" y="668"/>
                </a:lnTo>
                <a:lnTo>
                  <a:pt x="3774" y="661"/>
                </a:lnTo>
                <a:lnTo>
                  <a:pt x="3785" y="654"/>
                </a:lnTo>
                <a:lnTo>
                  <a:pt x="3796" y="648"/>
                </a:lnTo>
                <a:lnTo>
                  <a:pt x="3807" y="642"/>
                </a:lnTo>
                <a:lnTo>
                  <a:pt x="3818" y="637"/>
                </a:lnTo>
                <a:lnTo>
                  <a:pt x="3830" y="632"/>
                </a:lnTo>
                <a:lnTo>
                  <a:pt x="3842" y="628"/>
                </a:lnTo>
                <a:lnTo>
                  <a:pt x="3855" y="624"/>
                </a:lnTo>
                <a:lnTo>
                  <a:pt x="3868" y="621"/>
                </a:lnTo>
                <a:lnTo>
                  <a:pt x="3882" y="618"/>
                </a:lnTo>
                <a:lnTo>
                  <a:pt x="3895" y="616"/>
                </a:lnTo>
                <a:lnTo>
                  <a:pt x="3909" y="614"/>
                </a:lnTo>
                <a:lnTo>
                  <a:pt x="3923" y="612"/>
                </a:lnTo>
                <a:lnTo>
                  <a:pt x="3938" y="612"/>
                </a:lnTo>
                <a:lnTo>
                  <a:pt x="3952" y="611"/>
                </a:lnTo>
                <a:lnTo>
                  <a:pt x="3973" y="612"/>
                </a:lnTo>
                <a:lnTo>
                  <a:pt x="3994" y="614"/>
                </a:lnTo>
                <a:lnTo>
                  <a:pt x="4017" y="618"/>
                </a:lnTo>
                <a:lnTo>
                  <a:pt x="4042" y="622"/>
                </a:lnTo>
                <a:lnTo>
                  <a:pt x="4042" y="9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1" name="(logo)" descr="Z:\GRW (grow)\logot\copyright_grow.png" hidden="1">
            <a:extLst>
              <a:ext uri="{FF2B5EF4-FFF2-40B4-BE49-F238E27FC236}">
                <a16:creationId xmlns:a16="http://schemas.microsoft.com/office/drawing/2014/main" id="{53DCF12F-80FE-7878-F8F4-CEC0C701E2F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(c)" hidden="1"/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991328" y="6885480"/>
            <a:ext cx="193963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</a:rPr>
              <a:t> fortum</a:t>
            </a:r>
            <a:endParaRPr lang="en-GB" sz="200" dirty="0" err="1">
              <a:solidFill>
                <a:schemeClr val="bg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88" y="476250"/>
            <a:ext cx="10512425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484314"/>
            <a:ext cx="10512425" cy="44649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9269" y="6453336"/>
            <a:ext cx="1440382" cy="144016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900" b="0">
                <a:solidFill>
                  <a:schemeClr val="accent1"/>
                </a:solidFill>
                <a:latin typeface="+mn-lt"/>
                <a:cs typeface="Fortum Sans TT Regular" panose="02010504010101010104" pitchFamily="2" charset="0"/>
              </a:defRPr>
            </a:lvl1pPr>
          </a:lstStyle>
          <a:p>
            <a:fld id="{B45894CE-449A-49C1-9C8A-507005CC7C6F}" type="datetime1">
              <a:rPr lang="en-GB" smtClean="0"/>
              <a:t>17/10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9576" y="6453336"/>
            <a:ext cx="7488314" cy="144016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900" b="0">
                <a:solidFill>
                  <a:schemeClr val="accent1"/>
                </a:solidFill>
                <a:latin typeface="+mn-lt"/>
                <a:cs typeface="Fortum Sans TT Regular" panose="020105040101010101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3526" y="6453336"/>
            <a:ext cx="575746" cy="14401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900" b="0">
                <a:solidFill>
                  <a:schemeClr val="accent1"/>
                </a:solidFill>
                <a:latin typeface="+mn-lt"/>
                <a:cs typeface="Fortum Sans TT Regular" panose="02010504010101010104" pitchFamily="2" charset="0"/>
              </a:defRPr>
            </a:lvl1pPr>
          </a:lstStyle>
          <a:p>
            <a:fld id="{F90E5A77-D385-4CDE-8FE8-D3E3CBE93E7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6506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2" r:id="rId12"/>
    <p:sldLayoutId id="2147483931" r:id="rId13"/>
    <p:sldLayoutId id="2147483933" r:id="rId14"/>
    <p:sldLayoutId id="2147483934" r:id="rId15"/>
    <p:sldLayoutId id="2147483935" r:id="rId16"/>
    <p:sldLayoutId id="2147483982" r:id="rId17"/>
    <p:sldLayoutId id="2147483983" r:id="rId18"/>
    <p:sldLayoutId id="2147483984" r:id="rId19"/>
    <p:sldLayoutId id="2147483985" r:id="rId20"/>
    <p:sldLayoutId id="2147483986" r:id="rId21"/>
    <p:sldLayoutId id="2147483987" r:id="rId22"/>
    <p:sldLayoutId id="2147483988" r:id="rId23"/>
    <p:sldLayoutId id="2147483989" r:id="rId24"/>
    <p:sldLayoutId id="2147483990" r:id="rId25"/>
    <p:sldLayoutId id="2147483991" r:id="rId26"/>
    <p:sldLayoutId id="2147483992" r:id="rId27"/>
    <p:sldLayoutId id="2147483993" r:id="rId28"/>
    <p:sldLayoutId id="2147483942" r:id="rId29"/>
    <p:sldLayoutId id="2147483943" r:id="rId30"/>
    <p:sldLayoutId id="2147483944" r:id="rId31"/>
    <p:sldLayoutId id="2147483945" r:id="rId32"/>
    <p:sldLayoutId id="2147483946" r:id="rId33"/>
    <p:sldLayoutId id="2147483947" r:id="rId34"/>
    <p:sldLayoutId id="2147483948" r:id="rId35"/>
    <p:sldLayoutId id="2147483949" r:id="rId36"/>
    <p:sldLayoutId id="2147483950" r:id="rId37"/>
    <p:sldLayoutId id="2147483951" r:id="rId38"/>
    <p:sldLayoutId id="2147483952" r:id="rId39"/>
    <p:sldLayoutId id="2147483953" r:id="rId40"/>
    <p:sldLayoutId id="2147483954" r:id="rId41"/>
    <p:sldLayoutId id="2147483955" r:id="rId42"/>
    <p:sldLayoutId id="2147483956" r:id="rId43"/>
    <p:sldLayoutId id="2147483957" r:id="rId44"/>
    <p:sldLayoutId id="2147483958" r:id="rId45"/>
    <p:sldLayoutId id="2147483959" r:id="rId46"/>
    <p:sldLayoutId id="2147483960" r:id="rId47"/>
    <p:sldLayoutId id="2147483995" r:id="rId48"/>
    <p:sldLayoutId id="2147483961" r:id="rId49"/>
    <p:sldLayoutId id="2147483962" r:id="rId50"/>
    <p:sldLayoutId id="2147483963" r:id="rId51"/>
    <p:sldLayoutId id="2147483964" r:id="rId52"/>
    <p:sldLayoutId id="2147483965" r:id="rId53"/>
    <p:sldLayoutId id="2147483966" r:id="rId54"/>
    <p:sldLayoutId id="2147483967" r:id="rId55"/>
    <p:sldLayoutId id="2147483968" r:id="rId56"/>
    <p:sldLayoutId id="2147483969" r:id="rId57"/>
    <p:sldLayoutId id="2147483970" r:id="rId58"/>
    <p:sldLayoutId id="2147483971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spc="0" baseline="0">
          <a:solidFill>
            <a:schemeClr val="accent1"/>
          </a:solidFill>
          <a:latin typeface="+mj-lt"/>
          <a:ea typeface="+mj-ea"/>
          <a:cs typeface="Fortum Sans TT Bold" panose="02010804010101010104" pitchFamily="2" charset="0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–"/>
        <a:defRPr sz="1600" b="0" kern="1200">
          <a:solidFill>
            <a:schemeClr val="accent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–"/>
        <a:defRPr sz="12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200" b="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3748">
          <p15:clr>
            <a:srgbClr val="F26B43"/>
          </p15:clr>
        </p15:guide>
        <p15:guide id="8" orient="horz" pos="300" userDrawn="1">
          <p15:clr>
            <a:srgbClr val="F26B43"/>
          </p15:clr>
        </p15:guide>
        <p15:guide id="15" pos="7151">
          <p15:clr>
            <a:srgbClr val="F26B43"/>
          </p15:clr>
        </p15:guide>
        <p15:guide id="16" pos="529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21" pos="3840">
          <p15:clr>
            <a:srgbClr val="F26B43"/>
          </p15:clr>
        </p15:guide>
        <p15:guide id="23" orient="horz" pos="9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5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47DB08-C4F8-387F-7EA2-C738F4ED6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1</a:t>
            </a:fld>
            <a:endParaRPr lang="en-GB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FC91DC-8C82-F1E3-0E5C-E2B6AA7222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7978B18-EDAB-036A-A553-6F1F001372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2856"/>
            <a:ext cx="10368780" cy="1658916"/>
          </a:xfrm>
        </p:spPr>
        <p:txBody>
          <a:bodyPr/>
          <a:lstStyle/>
          <a:p>
            <a:r>
              <a:rPr lang="en-US" sz="4400" dirty="0"/>
              <a:t>Applicability of NURES® ion exchange materials for holistic radioactive liquid waste treatment</a:t>
            </a:r>
            <a:endParaRPr lang="fi-FI" sz="44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38589A1-E70F-8919-C9C6-8DF3E444CA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272" y="5615846"/>
            <a:ext cx="8928103" cy="615553"/>
          </a:xfrm>
        </p:spPr>
        <p:txBody>
          <a:bodyPr/>
          <a:lstStyle/>
          <a:p>
            <a:r>
              <a:rPr lang="en-US" dirty="0"/>
              <a:t>Weronika </a:t>
            </a:r>
            <a:r>
              <a:rPr lang="en-US" dirty="0" err="1"/>
              <a:t>Wojnick</a:t>
            </a:r>
            <a:r>
              <a:rPr lang="fi-FI" dirty="0"/>
              <a:t>a / </a:t>
            </a:r>
            <a:r>
              <a:rPr lang="fi-FI" dirty="0" err="1"/>
              <a:t>Sales</a:t>
            </a:r>
            <a:r>
              <a:rPr lang="fi-FI" dirty="0"/>
              <a:t> </a:t>
            </a:r>
            <a:r>
              <a:rPr lang="fi-FI" dirty="0" err="1"/>
              <a:t>Engineer</a:t>
            </a:r>
            <a:r>
              <a:rPr lang="fi-FI" dirty="0"/>
              <a:t> / </a:t>
            </a:r>
            <a:r>
              <a:rPr lang="fi-FI" dirty="0" err="1"/>
              <a:t>Nuclear</a:t>
            </a:r>
            <a:r>
              <a:rPr lang="fi-FI" dirty="0"/>
              <a:t> Services</a:t>
            </a:r>
          </a:p>
          <a:p>
            <a:r>
              <a:rPr lang="fi-FI" dirty="0"/>
              <a:t>22.10.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6C9A17-02A7-847D-3FD7-16E06AC88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10</a:t>
            </a:fld>
            <a:endParaRPr lang="en-GB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96AAD7-8B1C-8722-4CB1-88E06AE8ED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BE9882-CD44-E0F8-2614-2CA1E7DBB6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10512425" cy="590931"/>
          </a:xfrm>
        </p:spPr>
        <p:txBody>
          <a:bodyPr/>
          <a:lstStyle/>
          <a:p>
            <a:pPr algn="ctr"/>
            <a:r>
              <a:rPr lang="en-US" sz="4800" dirty="0"/>
              <a:t>Materials &amp; Methods</a:t>
            </a:r>
            <a:endParaRPr lang="fi-FI" sz="4800" dirty="0"/>
          </a:p>
        </p:txBody>
      </p:sp>
    </p:spTree>
    <p:extLst>
      <p:ext uri="{BB962C8B-B14F-4D97-AF65-F5344CB8AC3E}">
        <p14:creationId xmlns:p14="http://schemas.microsoft.com/office/powerpoint/2010/main" val="3837309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7DDD0D4-636C-8FF9-7701-6B4FD10506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272" y="1412776"/>
            <a:ext cx="4104083" cy="4464966"/>
          </a:xfrm>
        </p:spPr>
        <p:txBody>
          <a:bodyPr/>
          <a:lstStyle/>
          <a:p>
            <a:r>
              <a:rPr lang="en-US" u="sng" dirty="0"/>
              <a:t>Chosen elements:</a:t>
            </a:r>
          </a:p>
          <a:p>
            <a:pPr lvl="1"/>
            <a:r>
              <a:rPr lang="en-US" dirty="0"/>
              <a:t>Arsenic</a:t>
            </a:r>
          </a:p>
          <a:p>
            <a:pPr lvl="1"/>
            <a:r>
              <a:rPr lang="en-US" dirty="0"/>
              <a:t>Thorium</a:t>
            </a:r>
          </a:p>
          <a:p>
            <a:pPr lvl="1"/>
            <a:r>
              <a:rPr lang="en-US" dirty="0"/>
              <a:t>Uranium</a:t>
            </a:r>
          </a:p>
          <a:p>
            <a:pPr lvl="1"/>
            <a:r>
              <a:rPr lang="en-US" dirty="0"/>
              <a:t>Plutonium</a:t>
            </a:r>
          </a:p>
          <a:p>
            <a:pPr lvl="1"/>
            <a:r>
              <a:rPr lang="en-US" dirty="0"/>
              <a:t>Americium</a:t>
            </a:r>
          </a:p>
          <a:p>
            <a:endParaRPr lang="en-US" dirty="0"/>
          </a:p>
          <a:p>
            <a:r>
              <a:rPr lang="en-US" u="sng" dirty="0"/>
              <a:t>Choice based on:</a:t>
            </a:r>
          </a:p>
          <a:p>
            <a:pPr lvl="1"/>
            <a:r>
              <a:rPr lang="en-US" dirty="0"/>
              <a:t>NURES capabilities</a:t>
            </a:r>
          </a:p>
          <a:p>
            <a:pPr lvl="1"/>
            <a:r>
              <a:rPr lang="en-US" dirty="0"/>
              <a:t>Market needs &amp; client inquiries</a:t>
            </a:r>
          </a:p>
          <a:p>
            <a:pPr lvl="1"/>
            <a:r>
              <a:rPr lang="en-US" dirty="0"/>
              <a:t>Abundance in:</a:t>
            </a:r>
          </a:p>
          <a:p>
            <a:pPr lvl="2"/>
            <a:r>
              <a:rPr lang="en-US" dirty="0"/>
              <a:t>Nuclear fuel reprocessing waste</a:t>
            </a:r>
          </a:p>
          <a:p>
            <a:pPr lvl="2"/>
            <a:r>
              <a:rPr lang="en-US" dirty="0"/>
              <a:t>Nuclear operational waste</a:t>
            </a:r>
          </a:p>
          <a:p>
            <a:pPr lvl="2"/>
            <a:r>
              <a:rPr lang="en-US" dirty="0"/>
              <a:t>Nuclear accidents</a:t>
            </a:r>
          </a:p>
          <a:p>
            <a:pPr lvl="2"/>
            <a:r>
              <a:rPr lang="en-US" dirty="0"/>
              <a:t>Mining waste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fi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8D6951-EF46-FE09-3AFD-DCD0A07AE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11</a:t>
            </a:fld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3FAEDEF-831D-2BC2-1912-0FF766F0F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oice of Elements &amp; Batch Experiments</a:t>
            </a:r>
            <a:endParaRPr lang="fi-FI" dirty="0"/>
          </a:p>
        </p:txBody>
      </p:sp>
      <p:pic>
        <p:nvPicPr>
          <p:cNvPr id="6" name="Picture 5" descr="A diagram of a diagram of a substance&#10;&#10;AI-generated content may be incorrect.">
            <a:extLst>
              <a:ext uri="{FF2B5EF4-FFF2-40B4-BE49-F238E27FC236}">
                <a16:creationId xmlns:a16="http://schemas.microsoft.com/office/drawing/2014/main" id="{19239ED4-9F3E-A70F-B339-0F4A351097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920" y="1965622"/>
            <a:ext cx="6152722" cy="292675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3B81C30-5A4F-B8F5-BE96-DF23CEDBC346}"/>
              </a:ext>
            </a:extLst>
          </p:cNvPr>
          <p:cNvSpPr txBox="1"/>
          <p:nvPr/>
        </p:nvSpPr>
        <p:spPr>
          <a:xfrm>
            <a:off x="5375920" y="4896435"/>
            <a:ext cx="5616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atch Experiments</a:t>
            </a:r>
            <a:endParaRPr lang="fi-FI" sz="1600" dirty="0" err="1"/>
          </a:p>
        </p:txBody>
      </p:sp>
    </p:spTree>
    <p:extLst>
      <p:ext uri="{BB962C8B-B14F-4D97-AF65-F5344CB8AC3E}">
        <p14:creationId xmlns:p14="http://schemas.microsoft.com/office/powerpoint/2010/main" val="12638616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F81DD9-ED21-336C-6D59-7EAD364CB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12</a:t>
            </a:fld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D1D8FA-43AB-4BA2-45A8-C3A0BCB96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mical Speciation</a:t>
            </a:r>
            <a:endParaRPr lang="fi-FI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E5D59B-622B-EC89-40E6-72C0C58217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9787" y="1268413"/>
            <a:ext cx="4039728" cy="26412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1F5F850-FB28-7EA5-C995-DC091EED3F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4482" y="1268413"/>
            <a:ext cx="3887401" cy="27134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63EF913-E7C0-96C0-B7E4-84F45F738E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526" y="4293097"/>
            <a:ext cx="3888259" cy="230459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CF2828E-C2BF-A06F-7DAA-BC7011C8EA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519" y="4293097"/>
            <a:ext cx="3842698" cy="229633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7F6C4E2-83E4-126F-7C9A-629FA349A7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171" y="4301020"/>
            <a:ext cx="3820303" cy="229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7351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EEDC85F-3085-DC90-D32F-ACF093ED0F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d on detectable activities and type of radiation</a:t>
            </a:r>
          </a:p>
          <a:p>
            <a:endParaRPr lang="en-US" dirty="0"/>
          </a:p>
          <a:p>
            <a:r>
              <a:rPr lang="en-US" dirty="0"/>
              <a:t>Microwave Plasma Atomic Emission Spectrometry: </a:t>
            </a:r>
            <a:r>
              <a:rPr lang="en-US" b="1" dirty="0"/>
              <a:t>Arsenic</a:t>
            </a:r>
          </a:p>
          <a:p>
            <a:pPr lvl="1"/>
            <a:r>
              <a:rPr lang="en-US" dirty="0"/>
              <a:t>Detects trace elements</a:t>
            </a:r>
          </a:p>
          <a:p>
            <a:pPr marL="266700" lvl="1" indent="0">
              <a:buNone/>
            </a:pPr>
            <a:endParaRPr lang="en-US" dirty="0"/>
          </a:p>
          <a:p>
            <a:r>
              <a:rPr lang="en-US" dirty="0"/>
              <a:t>Gamma Spectrometry: </a:t>
            </a:r>
            <a:r>
              <a:rPr lang="en-US" b="1" dirty="0"/>
              <a:t>Americium</a:t>
            </a:r>
          </a:p>
          <a:p>
            <a:pPr lvl="1"/>
            <a:r>
              <a:rPr lang="en-US" dirty="0"/>
              <a:t>Emission of gamma rays</a:t>
            </a:r>
          </a:p>
          <a:p>
            <a:endParaRPr lang="en-US" dirty="0"/>
          </a:p>
          <a:p>
            <a:r>
              <a:rPr lang="en-US" dirty="0"/>
              <a:t>High Resolution Inductively Coupled Plasma Mass Spectrometry: </a:t>
            </a:r>
            <a:r>
              <a:rPr lang="en-US" b="1" dirty="0"/>
              <a:t>Thorium</a:t>
            </a:r>
            <a:r>
              <a:rPr lang="en-US" dirty="0"/>
              <a:t>, </a:t>
            </a:r>
            <a:r>
              <a:rPr lang="en-US" b="1" dirty="0"/>
              <a:t>Uranium</a:t>
            </a:r>
            <a:r>
              <a:rPr lang="en-US" dirty="0"/>
              <a:t>, </a:t>
            </a:r>
            <a:r>
              <a:rPr lang="en-US" b="1" dirty="0"/>
              <a:t>Plutonium</a:t>
            </a:r>
          </a:p>
          <a:p>
            <a:pPr lvl="1"/>
            <a:r>
              <a:rPr lang="en-US" dirty="0"/>
              <a:t>Emission of alpha particles and weak gamma rays</a:t>
            </a:r>
          </a:p>
          <a:p>
            <a:endParaRPr lang="en-US" dirty="0"/>
          </a:p>
          <a:p>
            <a:endParaRPr lang="en-US" dirty="0"/>
          </a:p>
          <a:p>
            <a:endParaRPr lang="fi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808C52-5AB1-7F1D-8077-29C93D5DB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13</a:t>
            </a:fld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8EA07E-E117-0878-683E-7B0659C41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emen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789961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4C6E90-4FC9-2DF1-5DBC-32403ADA38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14</a:t>
            </a:fld>
            <a:endParaRPr lang="en-GB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95AD5D-097F-7298-2781-65C1AC7C42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6A66A0-1294-7488-43B2-229526232B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10440788" cy="706347"/>
          </a:xfrm>
        </p:spPr>
        <p:txBody>
          <a:bodyPr/>
          <a:lstStyle/>
          <a:p>
            <a:pPr algn="ctr"/>
            <a:r>
              <a:rPr lang="en-US" sz="5400" dirty="0"/>
              <a:t>Resul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4990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5379EB-9EC6-354A-1417-4050572A1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15</a:t>
            </a:fld>
            <a:endParaRPr lang="en-GB" noProof="0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CE4AE998-3F9A-2FFC-1CA1-1B234663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76250"/>
            <a:ext cx="10512425" cy="792163"/>
          </a:xfrm>
        </p:spPr>
        <p:txBody>
          <a:bodyPr/>
          <a:lstStyle/>
          <a:p>
            <a:r>
              <a:rPr lang="en-US" dirty="0"/>
              <a:t>Distribution Coefficient and Sorption (%)</a:t>
            </a:r>
            <a:br>
              <a:rPr lang="en-US" dirty="0"/>
            </a:br>
            <a:endParaRPr lang="fi-FI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23C0D3-BC7B-0871-5361-0AE1877E1A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757" y="1818903"/>
            <a:ext cx="5437807" cy="3584631"/>
          </a:xfrm>
          <a:prstGeom prst="rect">
            <a:avLst/>
          </a:prstGeom>
        </p:spPr>
      </p:pic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27F3C16-0B29-3EF6-9B01-A3663259F6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438" y="1826890"/>
            <a:ext cx="5437808" cy="358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0147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D145D7D-3485-3A41-409F-D3A900CC494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92482276"/>
              </p:ext>
            </p:extLst>
          </p:nvPr>
        </p:nvGraphicFramePr>
        <p:xfrm>
          <a:off x="839788" y="2204864"/>
          <a:ext cx="10512425" cy="249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2485">
                  <a:extLst>
                    <a:ext uri="{9D8B030D-6E8A-4147-A177-3AD203B41FA5}">
                      <a16:colId xmlns:a16="http://schemas.microsoft.com/office/drawing/2014/main" val="4044655517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401195229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946445950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3269422167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084199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uclid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terial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H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orption (%)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tribution Coefficient (ml/g)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411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rsenic-75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bTrea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,3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8,75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,0E+04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937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lutonium-242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oTrea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,6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9,86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,1E+05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88706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mericium-241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oTrea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,7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9,95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1E+06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7052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ranium-238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bTrea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,1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9,99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,1E+07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40135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horium-232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bTrea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,2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9,99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5E+07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8326415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B114A6-912C-6B47-A338-56E8FCCD6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16</a:t>
            </a:fld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4B3A84-B513-E398-4F0A-9BEC4A77D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bution Coefficient and Sorption (%)</a:t>
            </a:r>
            <a:br>
              <a:rPr lang="en-US" dirty="0"/>
            </a:br>
            <a:endParaRPr lang="fi-FI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BBBE581C-6981-11AA-7FF5-615A16C19300}"/>
              </a:ext>
            </a:extLst>
          </p:cNvPr>
          <p:cNvSpPr txBox="1">
            <a:spLocks/>
          </p:cNvSpPr>
          <p:nvPr/>
        </p:nvSpPr>
        <p:spPr>
          <a:xfrm>
            <a:off x="839788" y="1844824"/>
            <a:ext cx="10512425" cy="3600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est</a:t>
            </a:r>
            <a:r>
              <a:rPr lang="fi-FI" dirty="0"/>
              <a:t> </a:t>
            </a:r>
            <a:r>
              <a:rPr lang="fi-FI" dirty="0" err="1"/>
              <a:t>removal</a:t>
            </a:r>
            <a:r>
              <a:rPr lang="fi-FI" dirty="0"/>
              <a:t> </a:t>
            </a:r>
            <a:r>
              <a:rPr lang="fi-FI" dirty="0" err="1"/>
              <a:t>results</a:t>
            </a:r>
            <a:r>
              <a:rPr lang="fi-FI" dirty="0"/>
              <a:t> for </a:t>
            </a:r>
            <a:r>
              <a:rPr lang="fi-FI" dirty="0" err="1"/>
              <a:t>each</a:t>
            </a:r>
            <a:r>
              <a:rPr lang="fi-FI" dirty="0"/>
              <a:t> </a:t>
            </a:r>
            <a:r>
              <a:rPr lang="fi-FI" dirty="0" err="1"/>
              <a:t>tested</a:t>
            </a:r>
            <a:r>
              <a:rPr lang="fi-FI" dirty="0"/>
              <a:t> </a:t>
            </a:r>
            <a:r>
              <a:rPr lang="fi-FI" dirty="0" err="1"/>
              <a:t>nuclide</a:t>
            </a:r>
            <a:r>
              <a:rPr lang="fi-FI" dirty="0"/>
              <a:t>.  </a:t>
            </a:r>
          </a:p>
          <a:p>
            <a:endParaRPr lang="fi-FI" dirty="0"/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416483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B547BB-7E75-3F86-4968-24D001304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17</a:t>
            </a:fld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D53F3C-1F20-381C-777B-4EDACE088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fi-FI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788A8C01-9165-AC4A-9023-205268B33B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1484313"/>
            <a:ext cx="8712595" cy="4465637"/>
          </a:xfrm>
        </p:spPr>
        <p:txBody>
          <a:bodyPr/>
          <a:lstStyle/>
          <a:p>
            <a:r>
              <a:rPr lang="en-US" b="1" dirty="0"/>
              <a:t>What</a:t>
            </a:r>
            <a:r>
              <a:rPr lang="en-US" dirty="0"/>
              <a:t>: Testing effectiveness of </a:t>
            </a:r>
            <a:r>
              <a:rPr lang="en-US" dirty="0" err="1"/>
              <a:t>SbTreat</a:t>
            </a:r>
            <a:r>
              <a:rPr lang="en-US" dirty="0"/>
              <a:t>, </a:t>
            </a:r>
            <a:r>
              <a:rPr lang="en-US" dirty="0" err="1"/>
              <a:t>CoTreat</a:t>
            </a:r>
            <a:r>
              <a:rPr lang="en-US" dirty="0"/>
              <a:t>, and </a:t>
            </a:r>
            <a:r>
              <a:rPr lang="en-US" dirty="0" err="1"/>
              <a:t>CsTreat</a:t>
            </a:r>
            <a:r>
              <a:rPr lang="en-US" dirty="0"/>
              <a:t> for removing arsenic, 	thorium, uranium, americium, and plutonium from liquids at various pH levels</a:t>
            </a:r>
          </a:p>
          <a:p>
            <a:r>
              <a:rPr lang="en-US" b="1" dirty="0"/>
              <a:t>Why</a:t>
            </a:r>
            <a:r>
              <a:rPr lang="en-US" dirty="0"/>
              <a:t>: Expanding applicability scope of NURES for an improved waste treatment</a:t>
            </a:r>
          </a:p>
          <a:p>
            <a:r>
              <a:rPr lang="en-US" b="1" dirty="0"/>
              <a:t>How</a:t>
            </a:r>
            <a:r>
              <a:rPr lang="en-US" dirty="0"/>
              <a:t>: Batch experiments and concentration measurements</a:t>
            </a:r>
          </a:p>
          <a:p>
            <a:endParaRPr lang="en-US" dirty="0"/>
          </a:p>
          <a:p>
            <a:r>
              <a:rPr lang="en-US" b="1" dirty="0"/>
              <a:t>Result</a:t>
            </a:r>
            <a:r>
              <a:rPr lang="en-US" dirty="0"/>
              <a:t>: </a:t>
            </a:r>
          </a:p>
          <a:p>
            <a:pPr lvl="1"/>
            <a:r>
              <a:rPr lang="en-US" dirty="0"/>
              <a:t>NURES has potential for removing tested elements</a:t>
            </a:r>
          </a:p>
          <a:p>
            <a:pPr lvl="1"/>
            <a:r>
              <a:rPr lang="fi-FI" dirty="0" err="1"/>
              <a:t>Most</a:t>
            </a:r>
            <a:r>
              <a:rPr lang="fi-FI" dirty="0"/>
              <a:t> </a:t>
            </a:r>
            <a:r>
              <a:rPr lang="fi-FI" dirty="0" err="1"/>
              <a:t>optimal</a:t>
            </a:r>
            <a:r>
              <a:rPr lang="fi-FI" dirty="0"/>
              <a:t> pH </a:t>
            </a:r>
            <a:r>
              <a:rPr lang="fi-FI" dirty="0" err="1"/>
              <a:t>depending</a:t>
            </a:r>
            <a:r>
              <a:rPr lang="fi-FI" dirty="0"/>
              <a:t> on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lement</a:t>
            </a:r>
            <a:r>
              <a:rPr lang="fi-FI" dirty="0"/>
              <a:t> </a:t>
            </a:r>
            <a:r>
              <a:rPr lang="fi-FI" dirty="0" err="1"/>
              <a:t>speciation</a:t>
            </a:r>
            <a:r>
              <a:rPr lang="fi-FI" dirty="0"/>
              <a:t> and NURES </a:t>
            </a:r>
            <a:r>
              <a:rPr lang="fi-FI" dirty="0" err="1"/>
              <a:t>material</a:t>
            </a:r>
            <a:endParaRPr lang="fi-FI" dirty="0"/>
          </a:p>
          <a:p>
            <a:pPr marL="266700" lvl="1" indent="0">
              <a:buNone/>
            </a:pPr>
            <a:endParaRPr lang="fi-FI" dirty="0"/>
          </a:p>
          <a:p>
            <a:r>
              <a:rPr lang="fi-FI" b="1" dirty="0" err="1"/>
              <a:t>Further</a:t>
            </a:r>
            <a:r>
              <a:rPr lang="fi-FI" b="1" dirty="0"/>
              <a:t> </a:t>
            </a:r>
            <a:r>
              <a:rPr lang="fi-FI" b="1" dirty="0" err="1"/>
              <a:t>research</a:t>
            </a:r>
            <a:r>
              <a:rPr lang="fi-FI" b="1" dirty="0"/>
              <a:t> </a:t>
            </a:r>
            <a:r>
              <a:rPr lang="fi-FI" b="1" dirty="0" err="1"/>
              <a:t>ideas</a:t>
            </a:r>
            <a:r>
              <a:rPr lang="fi-FI" dirty="0"/>
              <a:t>:</a:t>
            </a:r>
          </a:p>
          <a:p>
            <a:pPr lvl="1"/>
            <a:r>
              <a:rPr lang="fi-FI" dirty="0" err="1"/>
              <a:t>Testing</a:t>
            </a:r>
            <a:r>
              <a:rPr lang="fi-FI" dirty="0"/>
              <a:t> </a:t>
            </a:r>
            <a:r>
              <a:rPr lang="fi-FI" dirty="0" err="1"/>
              <a:t>other</a:t>
            </a:r>
            <a:r>
              <a:rPr lang="fi-FI" dirty="0"/>
              <a:t> </a:t>
            </a:r>
            <a:r>
              <a:rPr lang="fi-FI" dirty="0" err="1"/>
              <a:t>conditions</a:t>
            </a:r>
            <a:r>
              <a:rPr lang="fi-FI" dirty="0"/>
              <a:t> </a:t>
            </a:r>
            <a:r>
              <a:rPr lang="fi-FI" dirty="0" err="1"/>
              <a:t>besides</a:t>
            </a:r>
            <a:r>
              <a:rPr lang="fi-FI" dirty="0"/>
              <a:t> pH</a:t>
            </a:r>
          </a:p>
          <a:p>
            <a:pPr lvl="2"/>
            <a:r>
              <a:rPr lang="fi-FI" dirty="0"/>
              <a:t>E.g. </a:t>
            </a:r>
            <a:r>
              <a:rPr lang="fi-FI" dirty="0" err="1"/>
              <a:t>salt</a:t>
            </a:r>
            <a:r>
              <a:rPr lang="fi-FI" dirty="0"/>
              <a:t> </a:t>
            </a:r>
            <a:r>
              <a:rPr lang="fi-FI" dirty="0" err="1"/>
              <a:t>concentrations</a:t>
            </a:r>
            <a:r>
              <a:rPr lang="fi-FI" dirty="0"/>
              <a:t> and </a:t>
            </a:r>
            <a:r>
              <a:rPr lang="fi-FI" dirty="0" err="1"/>
              <a:t>competing</a:t>
            </a:r>
            <a:r>
              <a:rPr lang="fi-FI" dirty="0"/>
              <a:t> </a:t>
            </a:r>
            <a:r>
              <a:rPr lang="fi-FI" dirty="0" err="1"/>
              <a:t>elements</a:t>
            </a:r>
            <a:endParaRPr lang="fi-FI" dirty="0"/>
          </a:p>
          <a:p>
            <a:pPr lvl="1"/>
            <a:r>
              <a:rPr lang="fi-FI" dirty="0"/>
              <a:t>More </a:t>
            </a:r>
            <a:r>
              <a:rPr lang="fi-FI" dirty="0" err="1"/>
              <a:t>repeats</a:t>
            </a:r>
            <a:r>
              <a:rPr lang="fi-FI" dirty="0"/>
              <a:t> per </a:t>
            </a:r>
            <a:r>
              <a:rPr lang="fi-FI" dirty="0" err="1"/>
              <a:t>condition</a:t>
            </a:r>
            <a:r>
              <a:rPr lang="fi-FI" dirty="0"/>
              <a:t> </a:t>
            </a:r>
          </a:p>
          <a:p>
            <a:pPr lvl="2"/>
            <a:r>
              <a:rPr lang="fi-FI" dirty="0">
                <a:sym typeface="Wingdings" panose="05000000000000000000" pitchFamily="2" charset="2"/>
              </a:rPr>
              <a:t>To </a:t>
            </a:r>
            <a:r>
              <a:rPr lang="fi-FI" dirty="0" err="1">
                <a:sym typeface="Wingdings" panose="05000000000000000000" pitchFamily="2" charset="2"/>
              </a:rPr>
              <a:t>increase</a:t>
            </a:r>
            <a:r>
              <a:rPr lang="fi-FI" dirty="0">
                <a:sym typeface="Wingdings" panose="05000000000000000000" pitchFamily="2" charset="2"/>
              </a:rPr>
              <a:t> </a:t>
            </a:r>
            <a:r>
              <a:rPr lang="fi-FI" dirty="0" err="1">
                <a:sym typeface="Wingdings" panose="05000000000000000000" pitchFamily="2" charset="2"/>
              </a:rPr>
              <a:t>accuracy</a:t>
            </a:r>
            <a:r>
              <a:rPr lang="fi-FI" dirty="0">
                <a:sym typeface="Wingdings" panose="05000000000000000000" pitchFamily="2" charset="2"/>
              </a:rPr>
              <a:t>, </a:t>
            </a:r>
            <a:r>
              <a:rPr lang="fi-FI" dirty="0" err="1">
                <a:sym typeface="Wingdings" panose="05000000000000000000" pitchFamily="2" charset="2"/>
              </a:rPr>
              <a:t>reliability</a:t>
            </a:r>
            <a:r>
              <a:rPr lang="fi-FI" dirty="0">
                <a:sym typeface="Wingdings" panose="05000000000000000000" pitchFamily="2" charset="2"/>
              </a:rPr>
              <a:t>, and </a:t>
            </a:r>
            <a:r>
              <a:rPr lang="fi-FI" dirty="0" err="1">
                <a:sym typeface="Wingdings" panose="05000000000000000000" pitchFamily="2" charset="2"/>
              </a:rPr>
              <a:t>reproductability</a:t>
            </a:r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810421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FF6794-BCA8-D10B-73A7-C79C630D4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18</a:t>
            </a:fld>
            <a:endParaRPr lang="en-GB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207E40-3B54-A3DB-8170-6AB9E24228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99AE2C-FCC7-6F42-CDBA-4C8827713A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2592" y="1772816"/>
            <a:ext cx="10368780" cy="2035942"/>
          </a:xfrm>
        </p:spPr>
        <p:txBody>
          <a:bodyPr/>
          <a:lstStyle/>
          <a:p>
            <a:pPr algn="ctr"/>
            <a:r>
              <a:rPr lang="en-US" sz="5400" dirty="0"/>
              <a:t>Thank you!</a:t>
            </a:r>
            <a:br>
              <a:rPr lang="en-US" sz="5400" dirty="0"/>
            </a:br>
            <a:br>
              <a:rPr lang="en-US" sz="5400" dirty="0"/>
            </a:br>
            <a:r>
              <a:rPr lang="en-US" sz="5400" dirty="0"/>
              <a:t>Questions?</a:t>
            </a:r>
            <a:endParaRPr lang="fi-FI" sz="54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679C8A-1254-3C54-85BA-E47C25ADA7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272" y="5844351"/>
            <a:ext cx="8928103" cy="615553"/>
          </a:xfrm>
        </p:spPr>
        <p:txBody>
          <a:bodyPr/>
          <a:lstStyle/>
          <a:p>
            <a:r>
              <a:rPr lang="en-US" dirty="0"/>
              <a:t>Weronika Wojnicka</a:t>
            </a:r>
          </a:p>
          <a:p>
            <a:r>
              <a:rPr lang="en-US" dirty="0"/>
              <a:t>weronika.wojnicka@fortum.com</a:t>
            </a:r>
            <a:endParaRPr lang="fi-FI" dirty="0"/>
          </a:p>
        </p:txBody>
      </p:sp>
      <p:pic>
        <p:nvPicPr>
          <p:cNvPr id="14" name="Picture 1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6656797F-DA97-6562-F0BE-5135DCA54F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4512" y="130324"/>
            <a:ext cx="1359025" cy="1191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55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240015" y="0"/>
            <a:ext cx="5951987" cy="6858000"/>
          </a:xfrm>
          <a:prstGeom prst="rect">
            <a:avLst/>
          </a:prstGeom>
          <a:solidFill>
            <a:schemeClr val="accent4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4D6F8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6240014" cy="6858000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18F2D9-C4BC-AAA2-F389-FCC7694FC0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9446" y="1268289"/>
            <a:ext cx="5401121" cy="446496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GUNDREMMINGEN IN GERMANY (2024-2025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Liquid treatment feasibility study for spent fuel pool water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STUDSVIK IN SWEDEN (2024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Laboratory scale liquid waste treatment system delivery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DUFERCO IN BELGIUM (2018-PRESENT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Cs removal from contaminated metal steel ash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GRAFENREHINFELD GERMANY (2020– 2022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Treatment of liquid from plant evaporator treatment system with </a:t>
            </a:r>
            <a:r>
              <a:rPr lang="en-US" sz="1100" dirty="0" err="1">
                <a:solidFill>
                  <a:schemeClr val="bg1"/>
                </a:solidFill>
              </a:rPr>
              <a:t>CsTreat</a:t>
            </a:r>
            <a:r>
              <a:rPr lang="en-US" sz="1100" dirty="0">
                <a:solidFill>
                  <a:schemeClr val="bg1"/>
                </a:solidFill>
              </a:rPr>
              <a:t>® and </a:t>
            </a:r>
            <a:r>
              <a:rPr lang="en-US" sz="1100" dirty="0" err="1">
                <a:solidFill>
                  <a:schemeClr val="bg1"/>
                </a:solidFill>
              </a:rPr>
              <a:t>CoTreat</a:t>
            </a:r>
            <a:r>
              <a:rPr lang="en-US" sz="1100" dirty="0">
                <a:solidFill>
                  <a:schemeClr val="bg1"/>
                </a:solidFill>
              </a:rPr>
              <a:t>® &amp; </a:t>
            </a:r>
            <a:r>
              <a:rPr lang="en-US" sz="1100" dirty="0" err="1">
                <a:solidFill>
                  <a:schemeClr val="bg1"/>
                </a:solidFill>
              </a:rPr>
              <a:t>SbTreat</a:t>
            </a:r>
            <a:r>
              <a:rPr lang="en-US" sz="1100" dirty="0">
                <a:solidFill>
                  <a:schemeClr val="bg1"/>
                </a:solidFill>
              </a:rPr>
              <a:t>®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IAERI, Japan (1997 – 1998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70 m3 of reprocessing liquid with 7 </a:t>
            </a:r>
            <a:r>
              <a:rPr lang="en-US" sz="1100" dirty="0" err="1">
                <a:solidFill>
                  <a:schemeClr val="bg1"/>
                </a:solidFill>
              </a:rPr>
              <a:t>GBq</a:t>
            </a:r>
            <a:r>
              <a:rPr lang="en-US" sz="1100" dirty="0">
                <a:solidFill>
                  <a:schemeClr val="bg1"/>
                </a:solidFill>
              </a:rPr>
              <a:t>/l of Sr and 7 </a:t>
            </a:r>
            <a:r>
              <a:rPr lang="en-US" sz="1100" dirty="0" err="1">
                <a:solidFill>
                  <a:schemeClr val="bg1"/>
                </a:solidFill>
              </a:rPr>
              <a:t>GBq</a:t>
            </a:r>
            <a:r>
              <a:rPr lang="en-US" sz="1100" dirty="0">
                <a:solidFill>
                  <a:schemeClr val="bg1"/>
                </a:solidFill>
              </a:rPr>
              <a:t>/l of Cs purified to lower activity enabling cheaper further treatment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FUKUSHIMA, JAPAN (2011 – 2012) 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Cleaning of spent fuel pools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FUKUSHIMA, JAPAN (2012 – PRESENT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Cleaning of cooling water reverse osmosis reject. </a:t>
            </a:r>
            <a:r>
              <a:rPr lang="en-US" sz="1100" dirty="0" err="1">
                <a:solidFill>
                  <a:schemeClr val="bg1"/>
                </a:solidFill>
              </a:rPr>
              <a:t>CsTreat</a:t>
            </a:r>
            <a:r>
              <a:rPr lang="en-US" sz="1100" dirty="0">
                <a:solidFill>
                  <a:schemeClr val="bg1"/>
                </a:solidFill>
              </a:rPr>
              <a:t>® and </a:t>
            </a:r>
            <a:r>
              <a:rPr lang="en-US" sz="1100" dirty="0" err="1">
                <a:solidFill>
                  <a:schemeClr val="bg1"/>
                </a:solidFill>
              </a:rPr>
              <a:t>SrTreat</a:t>
            </a:r>
            <a:r>
              <a:rPr lang="en-US" sz="1100" dirty="0">
                <a:solidFill>
                  <a:schemeClr val="bg1"/>
                </a:solidFill>
              </a:rPr>
              <a:t>® are used in ALPS to reach non-detectable level of Cs and Sr.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PAKS NPP, HUNGARY (2003 – PRESENT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Cs removal and boron recovery from evaporator concentrat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8253F7C-4D13-973B-908F-E97F66966B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61227" y="1268289"/>
            <a:ext cx="4979910" cy="446496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DOUNREAY, UK (2002 – PRESENT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Cleaning of sodium coolant from PFR and DFR with </a:t>
            </a:r>
            <a:r>
              <a:rPr lang="en-US" sz="1100" dirty="0" err="1">
                <a:solidFill>
                  <a:schemeClr val="bg1"/>
                </a:solidFill>
              </a:rPr>
              <a:t>CsTreat</a:t>
            </a:r>
            <a:r>
              <a:rPr lang="en-US" sz="1100" dirty="0">
                <a:solidFill>
                  <a:schemeClr val="bg1"/>
                </a:solidFill>
              </a:rPr>
              <a:t>®</a:t>
            </a:r>
            <a:endParaRPr lang="en-US" sz="11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BRADWELL MAGNOX NPP, UK (2013– 2017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Treatment of liquid from a Fuel Element Debris (FED) treatment system with </a:t>
            </a:r>
            <a:r>
              <a:rPr lang="en-US" sz="1100" dirty="0" err="1">
                <a:solidFill>
                  <a:schemeClr val="bg1"/>
                </a:solidFill>
              </a:rPr>
              <a:t>CsTreat</a:t>
            </a:r>
            <a:r>
              <a:rPr lang="en-US" sz="1100" dirty="0">
                <a:solidFill>
                  <a:schemeClr val="bg1"/>
                </a:solidFill>
              </a:rPr>
              <a:t>® and </a:t>
            </a:r>
            <a:r>
              <a:rPr lang="en-US" sz="1100" dirty="0" err="1">
                <a:solidFill>
                  <a:schemeClr val="bg1"/>
                </a:solidFill>
              </a:rPr>
              <a:t>CoTreat</a:t>
            </a:r>
            <a:r>
              <a:rPr lang="en-US" sz="1100" dirty="0">
                <a:solidFill>
                  <a:schemeClr val="bg1"/>
                </a:solidFill>
              </a:rPr>
              <a:t>®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SELLAFIELD THORP, UK (2005 – 2007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THORP Feed Pond decontamination with </a:t>
            </a:r>
            <a:r>
              <a:rPr lang="en-US" sz="1100" dirty="0" err="1">
                <a:solidFill>
                  <a:schemeClr val="bg1"/>
                </a:solidFill>
              </a:rPr>
              <a:t>CoTreat</a:t>
            </a:r>
            <a:r>
              <a:rPr lang="en-US" sz="1100" dirty="0">
                <a:solidFill>
                  <a:schemeClr val="bg1"/>
                </a:solidFill>
              </a:rPr>
              <a:t>®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CALLAWAY, USA (1996 – 1999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3000 m3 of floor drain wastewater was purified with 250 liters of </a:t>
            </a:r>
            <a:r>
              <a:rPr lang="en-US" sz="1100" dirty="0" err="1">
                <a:solidFill>
                  <a:schemeClr val="bg1"/>
                </a:solidFill>
              </a:rPr>
              <a:t>CsTreat</a:t>
            </a:r>
            <a:r>
              <a:rPr lang="en-US" sz="1100" dirty="0">
                <a:solidFill>
                  <a:schemeClr val="bg1"/>
                </a:solidFill>
              </a:rPr>
              <a:t>®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SAVANNAH RIVER, USA (1999 – 2000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Demonstration to remove cesium from R-Reactor Disassembly Basin. 24 000 m3 was treated.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LOVIISA, FINLAND (1991 – PRESENT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1310 m3 of evaporator concentrates have been purified by 2009 with 232 </a:t>
            </a:r>
            <a:r>
              <a:rPr lang="en-US" sz="1100" dirty="0" err="1">
                <a:solidFill>
                  <a:schemeClr val="bg1"/>
                </a:solidFill>
              </a:rPr>
              <a:t>litres</a:t>
            </a:r>
            <a:r>
              <a:rPr lang="en-US" sz="1100" dirty="0">
                <a:solidFill>
                  <a:schemeClr val="bg1"/>
                </a:solidFill>
              </a:rPr>
              <a:t> of </a:t>
            </a:r>
            <a:r>
              <a:rPr lang="en-US" sz="1100" dirty="0" err="1">
                <a:solidFill>
                  <a:schemeClr val="bg1"/>
                </a:solidFill>
              </a:rPr>
              <a:t>CsTreat</a:t>
            </a:r>
            <a:r>
              <a:rPr lang="en-US" sz="1100" dirty="0">
                <a:solidFill>
                  <a:schemeClr val="bg1"/>
                </a:solidFill>
              </a:rPr>
              <a:t>®. Savings compared to cementation are over 50 million euros.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ATOMFLOT, RUSSIA (1996 - 1997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Cs and Sr purification of liquids from nuclear ice breakers with mobile unit</a:t>
            </a:r>
          </a:p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PALDISKI, ESTONIA (1995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Cleaning of 760 m3 of liquid waste in the </a:t>
            </a:r>
            <a:r>
              <a:rPr lang="en-US" sz="1100" dirty="0" err="1">
                <a:solidFill>
                  <a:schemeClr val="bg1"/>
                </a:solidFill>
              </a:rPr>
              <a:t>Paldiski</a:t>
            </a:r>
            <a:r>
              <a:rPr lang="en-US" sz="1100" dirty="0">
                <a:solidFill>
                  <a:schemeClr val="bg1"/>
                </a:solidFill>
              </a:rPr>
              <a:t> Naval Base (former Soviet Naval Training Centre) with only 12 </a:t>
            </a:r>
            <a:r>
              <a:rPr lang="en-US" sz="1100" dirty="0" err="1">
                <a:solidFill>
                  <a:schemeClr val="bg1"/>
                </a:solidFill>
              </a:rPr>
              <a:t>litres</a:t>
            </a:r>
            <a:r>
              <a:rPr lang="en-US" sz="1100" dirty="0">
                <a:solidFill>
                  <a:schemeClr val="bg1"/>
                </a:solidFill>
              </a:rPr>
              <a:t> of </a:t>
            </a:r>
            <a:r>
              <a:rPr lang="en-US" sz="1100" dirty="0" err="1">
                <a:solidFill>
                  <a:schemeClr val="bg1"/>
                </a:solidFill>
              </a:rPr>
              <a:t>CsTreat</a:t>
            </a:r>
            <a:r>
              <a:rPr lang="en-US" sz="1100" dirty="0">
                <a:solidFill>
                  <a:schemeClr val="bg1"/>
                </a:solidFill>
              </a:rPr>
              <a:t>®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111" y="476250"/>
            <a:ext cx="10512425" cy="792163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FFFFFF"/>
                </a:solidFill>
              </a:rPr>
              <a:t>Selected </a:t>
            </a:r>
            <a:r>
              <a:rPr lang="en-US" sz="2800" dirty="0">
                <a:solidFill>
                  <a:schemeClr val="bg1"/>
                </a:solidFill>
              </a:rPr>
              <a:t>Partners &amp; References</a:t>
            </a:r>
            <a:br>
              <a:rPr lang="en-US" sz="2800" dirty="0">
                <a:solidFill>
                  <a:schemeClr val="bg1"/>
                </a:solidFill>
                <a:latin typeface="+mn-lt"/>
              </a:rPr>
            </a:br>
            <a:endParaRPr lang="en-US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51488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699E40A-AFD8-F845-C42B-562E48E4EF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272" y="1268413"/>
            <a:ext cx="6551612" cy="4464966"/>
          </a:xfrm>
        </p:spPr>
        <p:txBody>
          <a:bodyPr/>
          <a:lstStyle/>
          <a:p>
            <a:r>
              <a:rPr lang="en-US" dirty="0"/>
              <a:t>Introduction &amp; Aim</a:t>
            </a:r>
          </a:p>
          <a:p>
            <a:r>
              <a:rPr lang="en-US" dirty="0"/>
              <a:t>Background</a:t>
            </a:r>
          </a:p>
          <a:p>
            <a:pPr lvl="1"/>
            <a:r>
              <a:rPr lang="en-US" dirty="0"/>
              <a:t>Previous NURES Projects at Fortum</a:t>
            </a:r>
          </a:p>
          <a:p>
            <a:pPr lvl="1"/>
            <a:r>
              <a:rPr lang="en-US" dirty="0"/>
              <a:t>Sources of Liquid Waste</a:t>
            </a:r>
          </a:p>
          <a:p>
            <a:pPr lvl="1"/>
            <a:r>
              <a:rPr lang="en-US" dirty="0"/>
              <a:t>Ion Exchange Materials</a:t>
            </a:r>
          </a:p>
          <a:p>
            <a:r>
              <a:rPr lang="en-US" dirty="0"/>
              <a:t>Materials &amp; Methods</a:t>
            </a:r>
          </a:p>
          <a:p>
            <a:pPr lvl="1"/>
            <a:r>
              <a:rPr lang="en-US" dirty="0"/>
              <a:t>Choice of Elements &amp; Batch Experiments</a:t>
            </a:r>
          </a:p>
          <a:p>
            <a:pPr lvl="1"/>
            <a:r>
              <a:rPr lang="en-US" dirty="0"/>
              <a:t>Chemical Speciation</a:t>
            </a:r>
          </a:p>
          <a:p>
            <a:pPr lvl="1"/>
            <a:r>
              <a:rPr lang="en-US" dirty="0"/>
              <a:t>Measurements</a:t>
            </a:r>
          </a:p>
          <a:p>
            <a:r>
              <a:rPr lang="en-US" dirty="0"/>
              <a:t>Results</a:t>
            </a:r>
          </a:p>
          <a:p>
            <a:r>
              <a:rPr lang="en-US" dirty="0"/>
              <a:t>Conclusi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fi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C20D95-38FF-1C46-BC23-BFE0A9134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2</a:t>
            </a:fld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9C3D76-ADA0-CE49-5553-955D8445D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05713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2EF35-BF7E-8960-1560-AB65EA326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3</a:t>
            </a:fld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6A895A-6974-1350-83E8-3D73F080D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&amp; Aim</a:t>
            </a:r>
            <a:endParaRPr lang="fi-FI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0C07C5-7352-3223-B021-4ACCAC4D2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088" y="1700808"/>
            <a:ext cx="4833086" cy="331236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0691040-4966-EECE-F787-E68DEC719B5D}"/>
              </a:ext>
            </a:extLst>
          </p:cNvPr>
          <p:cNvSpPr txBox="1"/>
          <p:nvPr/>
        </p:nvSpPr>
        <p:spPr>
          <a:xfrm>
            <a:off x="7345136" y="5013176"/>
            <a:ext cx="3918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Fortum’s NURES products: </a:t>
            </a:r>
          </a:p>
          <a:p>
            <a:pPr algn="ctr"/>
            <a:r>
              <a:rPr lang="en-US" sz="1200" dirty="0" err="1"/>
              <a:t>SbTreat</a:t>
            </a:r>
            <a:r>
              <a:rPr lang="en-US" sz="1200" dirty="0"/>
              <a:t>, </a:t>
            </a:r>
            <a:r>
              <a:rPr lang="en-US" sz="1200" dirty="0" err="1"/>
              <a:t>CoTreat</a:t>
            </a:r>
            <a:r>
              <a:rPr lang="en-US" sz="1200" dirty="0"/>
              <a:t>, </a:t>
            </a:r>
            <a:r>
              <a:rPr lang="en-US" sz="1200" dirty="0" err="1"/>
              <a:t>CsTreat</a:t>
            </a:r>
            <a:r>
              <a:rPr lang="en-US" sz="1200" dirty="0"/>
              <a:t>, </a:t>
            </a:r>
            <a:r>
              <a:rPr lang="en-US" sz="1200" dirty="0" err="1"/>
              <a:t>SrTreat</a:t>
            </a:r>
            <a:endParaRPr lang="fi-FI" sz="1200" dirty="0" err="1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C7EC6BE2-1004-B285-763A-6FCF53F3D3FF}"/>
              </a:ext>
            </a:extLst>
          </p:cNvPr>
          <p:cNvSpPr txBox="1">
            <a:spLocks/>
          </p:cNvSpPr>
          <p:nvPr/>
        </p:nvSpPr>
        <p:spPr>
          <a:xfrm>
            <a:off x="839272" y="1196517"/>
            <a:ext cx="5760267" cy="44649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mportance of waste management</a:t>
            </a:r>
          </a:p>
          <a:p>
            <a:pPr lvl="1"/>
            <a:r>
              <a:rPr lang="en-US" dirty="0"/>
              <a:t>Environmental and human safety</a:t>
            </a:r>
          </a:p>
          <a:p>
            <a:pPr lvl="1"/>
            <a:r>
              <a:rPr lang="en-US" dirty="0"/>
              <a:t>Affects public opinion towards a solution/technology</a:t>
            </a:r>
          </a:p>
          <a:p>
            <a:pPr lvl="1"/>
            <a:r>
              <a:rPr lang="en-US" dirty="0"/>
              <a:t>Cost reduction</a:t>
            </a:r>
          </a:p>
          <a:p>
            <a:endParaRPr lang="en-US" dirty="0"/>
          </a:p>
          <a:p>
            <a:r>
              <a:rPr lang="en-US" dirty="0"/>
              <a:t>Liquid waste can be treated with ion exchange technology </a:t>
            </a:r>
            <a:r>
              <a:rPr lang="en-US" dirty="0">
                <a:sym typeface="Wingdings" panose="05000000000000000000" pitchFamily="2" charset="2"/>
              </a:rPr>
              <a:t> NURES</a:t>
            </a:r>
            <a:endParaRPr lang="en-US" dirty="0"/>
          </a:p>
          <a:p>
            <a:endParaRPr lang="en-US" dirty="0"/>
          </a:p>
          <a:p>
            <a:r>
              <a:rPr lang="en-US" dirty="0"/>
              <a:t>Aim:</a:t>
            </a:r>
          </a:p>
          <a:p>
            <a:pPr lvl="1"/>
            <a:r>
              <a:rPr lang="en-US" dirty="0"/>
              <a:t>Expand application scope of NURES</a:t>
            </a:r>
          </a:p>
          <a:p>
            <a:pPr lvl="1"/>
            <a:r>
              <a:rPr lang="en-US" dirty="0"/>
              <a:t>Optimized waste management </a:t>
            </a:r>
          </a:p>
          <a:p>
            <a:pPr lvl="2"/>
            <a:r>
              <a:rPr lang="en-US" dirty="0"/>
              <a:t>Safe and stable final state of waste </a:t>
            </a:r>
          </a:p>
          <a:p>
            <a:pPr lvl="2"/>
            <a:r>
              <a:rPr lang="en-US" dirty="0"/>
              <a:t>Volume reduction for easier and cheaper disposal</a:t>
            </a:r>
            <a:endParaRPr lang="fi-FI" dirty="0"/>
          </a:p>
          <a:p>
            <a:pPr lvl="2"/>
            <a:endParaRPr lang="en-US" dirty="0"/>
          </a:p>
          <a:p>
            <a:r>
              <a:rPr lang="en-US" dirty="0"/>
              <a:t>Collaboration with University of Helsinki and VTT Technical Research Center of Finlan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4137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9EECB3-60CB-DF56-47CA-2815A5A6EB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272" y="1268413"/>
            <a:ext cx="6048816" cy="4464967"/>
          </a:xfrm>
        </p:spPr>
        <p:txBody>
          <a:bodyPr/>
          <a:lstStyle/>
          <a:p>
            <a:r>
              <a:rPr lang="en-US" dirty="0"/>
              <a:t>NURES® purifies liquid radioactive waste to a fraction of the original volume</a:t>
            </a:r>
          </a:p>
          <a:p>
            <a:endParaRPr lang="en-US" dirty="0"/>
          </a:p>
          <a:p>
            <a:r>
              <a:rPr lang="en-US" dirty="0"/>
              <a:t>Originally developed in the 1980s for the cesium removal at the Loviisa NPP</a:t>
            </a:r>
          </a:p>
          <a:p>
            <a:endParaRPr lang="en-US" dirty="0"/>
          </a:p>
          <a:p>
            <a:r>
              <a:rPr lang="en-US" dirty="0"/>
              <a:t>Fortum’s NURES® technology is based on patented, 100% inorganic, highly selective ion exchange materials, fitted for radioactive waste treatment</a:t>
            </a:r>
          </a:p>
          <a:p>
            <a:endParaRPr lang="en-US" dirty="0"/>
          </a:p>
          <a:p>
            <a:r>
              <a:rPr lang="en-US" dirty="0"/>
              <a:t>NURES® technology has been used for over 30 years and reached over 100 customers worldwid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CD9C4D-9C88-C61C-9DA5-B52723D34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4</a:t>
            </a:fld>
            <a:endParaRPr lang="en-GB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096A86B-0F07-D49E-F8D2-E5967BEA0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NURES®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1DF824-2704-4AEE-C39A-264E9EF451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FI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5FADAD2E-1F81-D289-1E2C-40B5AC0011E8}"/>
              </a:ext>
            </a:extLst>
          </p:cNvPr>
          <p:cNvGraphicFramePr/>
          <p:nvPr/>
        </p:nvGraphicFramePr>
        <p:xfrm>
          <a:off x="1162455" y="5373216"/>
          <a:ext cx="5040895" cy="1103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Kuvan paikkamerkki 8">
            <a:extLst>
              <a:ext uri="{FF2B5EF4-FFF2-40B4-BE49-F238E27FC236}">
                <a16:creationId xmlns:a16="http://schemas.microsoft.com/office/drawing/2014/main" id="{26B4B8B2-2116-4388-A4E5-3ABFD4BC70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Placeholder 7">
            <a:extLst>
              <a:ext uri="{FF2B5EF4-FFF2-40B4-BE49-F238E27FC236}">
                <a16:creationId xmlns:a16="http://schemas.microsoft.com/office/drawing/2014/main" id="{10F303B0-075E-DE6B-2C7D-5061EF7AF1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165" r="9835"/>
          <a:stretch>
            <a:fillRect/>
          </a:stretch>
        </p:blipFill>
        <p:spPr>
          <a:xfrm>
            <a:off x="7128791" y="4"/>
            <a:ext cx="6096001" cy="685799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287600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7E1CB4-5925-0885-760E-817B3035E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D8802-6FD7-795E-7257-17E694234A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E24887-C5FE-1A04-58FC-E7FB308331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3600"/>
            <a:ext cx="10512425" cy="664797"/>
          </a:xfrm>
        </p:spPr>
        <p:txBody>
          <a:bodyPr/>
          <a:lstStyle/>
          <a:p>
            <a:pPr algn="ctr"/>
            <a:r>
              <a:rPr lang="en-US" sz="5400" dirty="0">
                <a:latin typeface="+mn-lt"/>
              </a:rPr>
              <a:t>Background</a:t>
            </a:r>
            <a:endParaRPr lang="fi-FI" sz="5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846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D57132-41BA-FA1F-1B8B-52C41E89C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6</a:t>
            </a:fld>
            <a:endParaRPr lang="en-GB" noProof="0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A962174F-4A7C-315B-3EA5-874482EBC7E0}"/>
              </a:ext>
            </a:extLst>
          </p:cNvPr>
          <p:cNvSpPr txBox="1">
            <a:spLocks/>
          </p:cNvSpPr>
          <p:nvPr/>
        </p:nvSpPr>
        <p:spPr>
          <a:xfrm>
            <a:off x="839787" y="1452941"/>
            <a:ext cx="5636347" cy="44649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URES used in over 50 locations around the </a:t>
            </a:r>
            <a:r>
              <a:rPr lang="en-US" dirty="0" err="1"/>
              <a:t>worl</a:t>
            </a:r>
            <a:r>
              <a:rPr lang="fi-FI" dirty="0"/>
              <a:t>d</a:t>
            </a:r>
          </a:p>
          <a:p>
            <a:r>
              <a:rPr lang="fi-FI" dirty="0" err="1"/>
              <a:t>Examples</a:t>
            </a:r>
            <a:r>
              <a:rPr lang="fi-FI" dirty="0"/>
              <a:t>:</a:t>
            </a:r>
          </a:p>
          <a:p>
            <a:pPr lvl="1"/>
            <a:r>
              <a:rPr lang="fi-FI" dirty="0"/>
              <a:t>Loviisa </a:t>
            </a:r>
            <a:r>
              <a:rPr lang="fi-FI" dirty="0" err="1"/>
              <a:t>nuclear</a:t>
            </a:r>
            <a:r>
              <a:rPr lang="fi-FI" dirty="0"/>
              <a:t> </a:t>
            </a:r>
            <a:r>
              <a:rPr lang="fi-FI" dirty="0" err="1"/>
              <a:t>power</a:t>
            </a:r>
            <a:r>
              <a:rPr lang="fi-FI" dirty="0"/>
              <a:t> </a:t>
            </a:r>
            <a:r>
              <a:rPr lang="fi-FI" dirty="0" err="1"/>
              <a:t>plant</a:t>
            </a:r>
            <a:r>
              <a:rPr lang="fi-FI" dirty="0"/>
              <a:t>, Finland</a:t>
            </a:r>
          </a:p>
          <a:p>
            <a:pPr lvl="1"/>
            <a:r>
              <a:rPr lang="en-US" dirty="0"/>
              <a:t>Fukushima Daiichi nuclear power plant, Japan</a:t>
            </a:r>
          </a:p>
          <a:p>
            <a:pPr lvl="1"/>
            <a:r>
              <a:rPr lang="en-US" dirty="0" err="1"/>
              <a:t>Grafenrheinfeld</a:t>
            </a:r>
            <a:r>
              <a:rPr lang="en-US" dirty="0"/>
              <a:t> nuclear power plant, Germany </a:t>
            </a:r>
          </a:p>
          <a:p>
            <a:pPr lvl="1"/>
            <a:r>
              <a:rPr lang="fi-FI" dirty="0" err="1"/>
              <a:t>Duferco</a:t>
            </a:r>
            <a:r>
              <a:rPr lang="fi-FI" dirty="0"/>
              <a:t> La </a:t>
            </a:r>
            <a:r>
              <a:rPr lang="fi-FI" dirty="0" err="1"/>
              <a:t>Louvière</a:t>
            </a:r>
            <a:r>
              <a:rPr lang="fi-FI" dirty="0"/>
              <a:t> </a:t>
            </a:r>
            <a:r>
              <a:rPr lang="fi-FI" dirty="0" err="1"/>
              <a:t>steel</a:t>
            </a:r>
            <a:r>
              <a:rPr lang="fi-FI" dirty="0"/>
              <a:t> </a:t>
            </a:r>
            <a:r>
              <a:rPr lang="fi-FI" dirty="0" err="1"/>
              <a:t>plant</a:t>
            </a:r>
            <a:r>
              <a:rPr lang="fi-FI" dirty="0"/>
              <a:t>, </a:t>
            </a:r>
            <a:r>
              <a:rPr lang="fi-FI" dirty="0" err="1"/>
              <a:t>Belgium</a:t>
            </a:r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pPr lvl="1"/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en-US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01470D20-95D2-611F-6B98-E5FA0912B959}"/>
              </a:ext>
            </a:extLst>
          </p:cNvPr>
          <p:cNvSpPr txBox="1">
            <a:spLocks/>
          </p:cNvSpPr>
          <p:nvPr/>
        </p:nvSpPr>
        <p:spPr>
          <a:xfrm>
            <a:off x="263526" y="6453336"/>
            <a:ext cx="575746" cy="14401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b="0" kern="1200">
                <a:solidFill>
                  <a:schemeClr val="accent1"/>
                </a:solidFill>
                <a:latin typeface="+mn-lt"/>
                <a:ea typeface="+mn-ea"/>
                <a:cs typeface="Fortum Sans TT Regular" panose="020105040101010101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0E5A77-D385-4CDE-8FE8-D3E3CBE93E71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15100E9F-E3E7-B258-1A6F-F68DDACE4818}"/>
              </a:ext>
            </a:extLst>
          </p:cNvPr>
          <p:cNvSpPr txBox="1">
            <a:spLocks/>
          </p:cNvSpPr>
          <p:nvPr/>
        </p:nvSpPr>
        <p:spPr>
          <a:xfrm>
            <a:off x="839788" y="476250"/>
            <a:ext cx="10512425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0" baseline="0">
                <a:solidFill>
                  <a:schemeClr val="accent1"/>
                </a:solidFill>
                <a:latin typeface="+mj-lt"/>
                <a:ea typeface="+mj-ea"/>
                <a:cs typeface="Fortum Sans TT Bold" panose="02010804010101010104" pitchFamily="2" charset="0"/>
              </a:defRPr>
            </a:lvl1pPr>
          </a:lstStyle>
          <a:p>
            <a:r>
              <a:rPr lang="en-US"/>
              <a:t>Previous NURES Projects at Fortum</a:t>
            </a:r>
            <a:endParaRPr lang="fi-FI" dirty="0"/>
          </a:p>
        </p:txBody>
      </p:sp>
      <p:pic>
        <p:nvPicPr>
          <p:cNvPr id="8" name="Picture 7" descr="A diagram of a factory&#10;&#10;AI-generated content may be incorrect.">
            <a:extLst>
              <a:ext uri="{FF2B5EF4-FFF2-40B4-BE49-F238E27FC236}">
                <a16:creationId xmlns:a16="http://schemas.microsoft.com/office/drawing/2014/main" id="{5C87B77D-DE7B-0090-7558-959E3FD97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194" y="1402162"/>
            <a:ext cx="5636346" cy="4517613"/>
          </a:xfrm>
          <a:prstGeom prst="rect">
            <a:avLst/>
          </a:prstGeom>
        </p:spPr>
      </p:pic>
      <p:pic>
        <p:nvPicPr>
          <p:cNvPr id="9" name="Picture 8" descr="A silver cylinder with blue dots&#10;&#10;AI-generated content may be incorrect.">
            <a:extLst>
              <a:ext uri="{FF2B5EF4-FFF2-40B4-BE49-F238E27FC236}">
                <a16:creationId xmlns:a16="http://schemas.microsoft.com/office/drawing/2014/main" id="{AD87F8AB-C861-5D55-C87C-137E26BDD3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272" y="3933056"/>
            <a:ext cx="1829064" cy="2376264"/>
          </a:xfrm>
          <a:prstGeom prst="rect">
            <a:avLst/>
          </a:prstGeom>
        </p:spPr>
      </p:pic>
      <p:pic>
        <p:nvPicPr>
          <p:cNvPr id="10" name="Picture 9" descr="Several men in white coats working in a factory&#10;&#10;AI-generated content may be incorrect.">
            <a:extLst>
              <a:ext uri="{FF2B5EF4-FFF2-40B4-BE49-F238E27FC236}">
                <a16:creationId xmlns:a16="http://schemas.microsoft.com/office/drawing/2014/main" id="{168F1ED8-E622-5B34-E094-C6B4D0232D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328" y="3933056"/>
            <a:ext cx="2567814" cy="237626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2B485D6-61DD-57C7-B8EC-ABA1FF097E31}"/>
              </a:ext>
            </a:extLst>
          </p:cNvPr>
          <p:cNvSpPr txBox="1"/>
          <p:nvPr/>
        </p:nvSpPr>
        <p:spPr>
          <a:xfrm>
            <a:off x="839272" y="6361525"/>
            <a:ext cx="18290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URES column</a:t>
            </a:r>
            <a:endParaRPr lang="fi-FI" sz="12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558BDD-B820-BA0B-D738-F9A0E00BD88A}"/>
              </a:ext>
            </a:extLst>
          </p:cNvPr>
          <p:cNvSpPr txBox="1"/>
          <p:nvPr/>
        </p:nvSpPr>
        <p:spPr>
          <a:xfrm>
            <a:off x="10649388" y="6140043"/>
            <a:ext cx="1368152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sz="1600" dirty="0"/>
          </a:p>
          <a:p>
            <a:endParaRPr lang="fi-FI" sz="1600" dirty="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9DCE70-7466-0E7D-71F0-B245B7CB0001}"/>
              </a:ext>
            </a:extLst>
          </p:cNvPr>
          <p:cNvSpPr txBox="1"/>
          <p:nvPr/>
        </p:nvSpPr>
        <p:spPr>
          <a:xfrm>
            <a:off x="6650594" y="6002123"/>
            <a:ext cx="54220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 NURES purification system used for treating liquid waste at the </a:t>
            </a:r>
            <a:r>
              <a:rPr lang="en-US" sz="1200" dirty="0" err="1"/>
              <a:t>Grafen-rheinfeld</a:t>
            </a:r>
            <a:r>
              <a:rPr lang="en-US" sz="1200" dirty="0"/>
              <a:t> nuclear power plant in Germany. The system includes three NURES modules, a pre-filter, a feed tank, a chemical station, and a mixer tank.</a:t>
            </a:r>
            <a:endParaRPr lang="fi-FI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79766C4-DB01-3342-B236-999E5F4A349E}"/>
              </a:ext>
            </a:extLst>
          </p:cNvPr>
          <p:cNvSpPr txBox="1"/>
          <p:nvPr/>
        </p:nvSpPr>
        <p:spPr>
          <a:xfrm>
            <a:off x="3204403" y="6361525"/>
            <a:ext cx="27356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Loviisa final disposal waste container</a:t>
            </a:r>
            <a:endParaRPr lang="fi-FI" sz="1200" dirty="0" err="1"/>
          </a:p>
        </p:txBody>
      </p:sp>
    </p:spTree>
    <p:extLst>
      <p:ext uri="{BB962C8B-B14F-4D97-AF65-F5344CB8AC3E}">
        <p14:creationId xmlns:p14="http://schemas.microsoft.com/office/powerpoint/2010/main" val="3467895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C01312C-BB51-83B1-D742-934F115179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272" y="1628391"/>
            <a:ext cx="4680148" cy="4464967"/>
          </a:xfrm>
        </p:spPr>
        <p:txBody>
          <a:bodyPr anchor="t">
            <a:normAutofit/>
          </a:bodyPr>
          <a:lstStyle/>
          <a:p>
            <a:r>
              <a:rPr lang="en-US" dirty="0"/>
              <a:t>Nuclear operational waste</a:t>
            </a:r>
          </a:p>
          <a:p>
            <a:r>
              <a:rPr lang="en-US" dirty="0"/>
              <a:t>Nuclear fuel reprocessing waste</a:t>
            </a:r>
          </a:p>
          <a:p>
            <a:r>
              <a:rPr lang="en-US" dirty="0"/>
              <a:t>Nuclear accidents waste</a:t>
            </a:r>
          </a:p>
          <a:p>
            <a:pPr lvl="1"/>
            <a:r>
              <a:rPr lang="en-US" sz="1800" dirty="0"/>
              <a:t>Fukushima, Japan 2011</a:t>
            </a:r>
          </a:p>
          <a:p>
            <a:pPr lvl="1"/>
            <a:r>
              <a:rPr lang="en-US" sz="1800" dirty="0"/>
              <a:t>Chernobyl, Ukraine 1986 </a:t>
            </a:r>
          </a:p>
          <a:p>
            <a:r>
              <a:rPr lang="en-US" dirty="0"/>
              <a:t>Mining was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21CFEB-1E6F-FC54-2A77-6296047A4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63526" y="6453336"/>
            <a:ext cx="575746" cy="144016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F90E5A77-D385-4CDE-8FE8-D3E3CBE93E71}" type="slidenum">
              <a:rPr lang="en-GB" noProof="0" smtClean="0"/>
              <a:pPr>
                <a:spcAft>
                  <a:spcPts val="600"/>
                </a:spcAft>
              </a:pPr>
              <a:t>7</a:t>
            </a:fld>
            <a:endParaRPr lang="en-GB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9F517D5-0852-9CB6-96AD-ECC8C42EB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76250"/>
            <a:ext cx="4680148" cy="792163"/>
          </a:xfrm>
        </p:spPr>
        <p:txBody>
          <a:bodyPr anchor="t">
            <a:normAutofit/>
          </a:bodyPr>
          <a:lstStyle/>
          <a:p>
            <a:r>
              <a:rPr lang="en-US" sz="2700" dirty="0"/>
              <a:t>Sources of Liquid Waste and Harmful Elements</a:t>
            </a:r>
            <a:endParaRPr lang="fi-FI" sz="27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51E5F44-8429-F438-A8B1-0E3E0744F2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2571" y="0"/>
            <a:ext cx="5029640" cy="68517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0BEC72-7075-2AC7-03E6-DD6857C0853C}"/>
              </a:ext>
            </a:extLst>
          </p:cNvPr>
          <p:cNvSpPr txBox="1"/>
          <p:nvPr/>
        </p:nvSpPr>
        <p:spPr>
          <a:xfrm>
            <a:off x="6412199" y="738408"/>
            <a:ext cx="4850384" cy="123111"/>
          </a:xfrm>
          <a:prstGeom prst="rect">
            <a:avLst/>
          </a:prstGeom>
          <a:solidFill>
            <a:srgbClr val="00B0F0">
              <a:alpha val="10000"/>
            </a:srgbClr>
          </a:solidFill>
        </p:spPr>
        <p:txBody>
          <a:bodyPr wrap="square" rtlCol="0">
            <a:spAutoFit/>
          </a:bodyPr>
          <a:lstStyle/>
          <a:p>
            <a:endParaRPr lang="fi-FI" sz="2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20ADEC-57AD-3C1C-41C9-384792219EA5}"/>
              </a:ext>
            </a:extLst>
          </p:cNvPr>
          <p:cNvSpPr txBox="1"/>
          <p:nvPr/>
        </p:nvSpPr>
        <p:spPr>
          <a:xfrm>
            <a:off x="6412199" y="462481"/>
            <a:ext cx="4850384" cy="123111"/>
          </a:xfrm>
          <a:prstGeom prst="rect">
            <a:avLst/>
          </a:prstGeom>
          <a:solidFill>
            <a:srgbClr val="00B0F0">
              <a:alpha val="10000"/>
            </a:srgbClr>
          </a:solidFill>
        </p:spPr>
        <p:txBody>
          <a:bodyPr wrap="square" rtlCol="0">
            <a:spAutoFit/>
          </a:bodyPr>
          <a:lstStyle/>
          <a:p>
            <a:endParaRPr lang="fi-FI" sz="200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32C846-6CF6-159A-9D43-9CC950120051}"/>
              </a:ext>
            </a:extLst>
          </p:cNvPr>
          <p:cNvSpPr txBox="1"/>
          <p:nvPr/>
        </p:nvSpPr>
        <p:spPr>
          <a:xfrm>
            <a:off x="6412199" y="3799318"/>
            <a:ext cx="4850384" cy="123111"/>
          </a:xfrm>
          <a:prstGeom prst="rect">
            <a:avLst/>
          </a:prstGeom>
          <a:solidFill>
            <a:srgbClr val="00B0F0">
              <a:alpha val="10000"/>
            </a:srgbClr>
          </a:solidFill>
        </p:spPr>
        <p:txBody>
          <a:bodyPr wrap="square" rtlCol="0">
            <a:spAutoFit/>
          </a:bodyPr>
          <a:lstStyle/>
          <a:p>
            <a:endParaRPr lang="fi-FI" sz="200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3800AF4-77AD-8E31-0A96-6EE8AC224CA4}"/>
              </a:ext>
            </a:extLst>
          </p:cNvPr>
          <p:cNvSpPr txBox="1"/>
          <p:nvPr/>
        </p:nvSpPr>
        <p:spPr>
          <a:xfrm>
            <a:off x="6412199" y="5805264"/>
            <a:ext cx="4850384" cy="123111"/>
          </a:xfrm>
          <a:prstGeom prst="rect">
            <a:avLst/>
          </a:prstGeom>
          <a:solidFill>
            <a:srgbClr val="00B0F0">
              <a:alpha val="10000"/>
            </a:srgbClr>
          </a:solidFill>
        </p:spPr>
        <p:txBody>
          <a:bodyPr wrap="square" rtlCol="0">
            <a:spAutoFit/>
          </a:bodyPr>
          <a:lstStyle/>
          <a:p>
            <a:endParaRPr lang="fi-FI" sz="2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3CBF66-DADA-8158-E460-A87B341650BB}"/>
              </a:ext>
            </a:extLst>
          </p:cNvPr>
          <p:cNvSpPr txBox="1"/>
          <p:nvPr/>
        </p:nvSpPr>
        <p:spPr>
          <a:xfrm>
            <a:off x="6412199" y="6081191"/>
            <a:ext cx="4850384" cy="123111"/>
          </a:xfrm>
          <a:prstGeom prst="rect">
            <a:avLst/>
          </a:prstGeom>
          <a:solidFill>
            <a:srgbClr val="00B0F0">
              <a:alpha val="10000"/>
            </a:srgbClr>
          </a:solidFill>
        </p:spPr>
        <p:txBody>
          <a:bodyPr wrap="square" rtlCol="0">
            <a:spAutoFit/>
          </a:bodyPr>
          <a:lstStyle/>
          <a:p>
            <a:endParaRPr lang="fi-FI" sz="200" dirty="0" err="1"/>
          </a:p>
        </p:txBody>
      </p:sp>
    </p:spTree>
    <p:extLst>
      <p:ext uri="{BB962C8B-B14F-4D97-AF65-F5344CB8AC3E}">
        <p14:creationId xmlns:p14="http://schemas.microsoft.com/office/powerpoint/2010/main" val="17565272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structure of a molecule&#10;&#10;AI-generated content may be incorrect.">
            <a:extLst>
              <a:ext uri="{FF2B5EF4-FFF2-40B4-BE49-F238E27FC236}">
                <a16:creationId xmlns:a16="http://schemas.microsoft.com/office/drawing/2014/main" id="{98741B28-F257-9201-7188-B239B6A8A6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9453" y="1173136"/>
            <a:ext cx="2235513" cy="2104012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DC5074-72CE-D809-423A-49410DCAE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8</a:t>
            </a:fld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21FFD7-4E48-A7DB-7171-522973C93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272" y="375520"/>
            <a:ext cx="10512425" cy="792163"/>
          </a:xfrm>
        </p:spPr>
        <p:txBody>
          <a:bodyPr/>
          <a:lstStyle/>
          <a:p>
            <a:pPr algn="ctr"/>
            <a:r>
              <a:rPr lang="en-US" dirty="0"/>
              <a:t>NURES Ion Exchange Materials</a:t>
            </a:r>
            <a:endParaRPr lang="fi-FI" dirty="0"/>
          </a:p>
        </p:txBody>
      </p:sp>
      <p:pic>
        <p:nvPicPr>
          <p:cNvPr id="10" name="Picture 9" descr="Several different types of molecules&#10;&#10;AI-generated content may be incorrect.">
            <a:extLst>
              <a:ext uri="{FF2B5EF4-FFF2-40B4-BE49-F238E27FC236}">
                <a16:creationId xmlns:a16="http://schemas.microsoft.com/office/drawing/2014/main" id="{839E9B93-DCB9-FA62-5384-28CA7D6E79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43"/>
          <a:stretch/>
        </p:blipFill>
        <p:spPr>
          <a:xfrm>
            <a:off x="4079776" y="3748043"/>
            <a:ext cx="4232259" cy="2655105"/>
          </a:xfrm>
          <a:prstGeom prst="rect">
            <a:avLst/>
          </a:prstGeom>
        </p:spPr>
      </p:pic>
      <p:pic>
        <p:nvPicPr>
          <p:cNvPr id="12" name="Picture 11" descr="A black and white drawing of a grid&#10;&#10;AI-generated content may be incorrect.">
            <a:extLst>
              <a:ext uri="{FF2B5EF4-FFF2-40B4-BE49-F238E27FC236}">
                <a16:creationId xmlns:a16="http://schemas.microsoft.com/office/drawing/2014/main" id="{320089BC-0CF9-B9B3-C805-5BB9A9BA90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071" y="834005"/>
            <a:ext cx="4558410" cy="245555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1B0DFB5-49F8-8999-E6EB-389C505A60CF}"/>
              </a:ext>
            </a:extLst>
          </p:cNvPr>
          <p:cNvSpPr txBox="1"/>
          <p:nvPr/>
        </p:nvSpPr>
        <p:spPr>
          <a:xfrm>
            <a:off x="285365" y="3339551"/>
            <a:ext cx="10049997" cy="351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          	               Hexacyanoferrate – </a:t>
            </a:r>
            <a:r>
              <a:rPr lang="en-US" sz="1600" dirty="0" err="1"/>
              <a:t>CsTreat</a:t>
            </a:r>
            <a:r>
              <a:rPr lang="en-US" sz="1600" dirty="0"/>
              <a:t>		       Titanate – </a:t>
            </a:r>
            <a:r>
              <a:rPr lang="en-US" sz="1600" dirty="0" err="1"/>
              <a:t>CoTreat</a:t>
            </a:r>
            <a:r>
              <a:rPr lang="en-US" sz="1600" dirty="0"/>
              <a:t> &amp; </a:t>
            </a:r>
            <a:r>
              <a:rPr lang="en-US" sz="1600" dirty="0" err="1"/>
              <a:t>SrTreat</a:t>
            </a:r>
            <a:r>
              <a:rPr lang="en-US" sz="1600" dirty="0"/>
              <a:t> </a:t>
            </a:r>
            <a:endParaRPr lang="fi-FI" sz="1600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756FFDB-9D6F-E8E9-4740-1F27CC690D52}"/>
              </a:ext>
            </a:extLst>
          </p:cNvPr>
          <p:cNvSpPr txBox="1"/>
          <p:nvPr/>
        </p:nvSpPr>
        <p:spPr>
          <a:xfrm>
            <a:off x="4223792" y="6403148"/>
            <a:ext cx="3972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Zirconium Oxide - </a:t>
            </a:r>
            <a:r>
              <a:rPr lang="en-US" sz="1600" dirty="0" err="1"/>
              <a:t>SbTreat</a:t>
            </a:r>
            <a:endParaRPr lang="fi-FI" sz="1600" dirty="0" err="1"/>
          </a:p>
        </p:txBody>
      </p:sp>
    </p:spTree>
    <p:extLst>
      <p:ext uri="{BB962C8B-B14F-4D97-AF65-F5344CB8AC3E}">
        <p14:creationId xmlns:p14="http://schemas.microsoft.com/office/powerpoint/2010/main" val="29963179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EB9576-0C8E-0137-9EC4-933133553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GB" noProof="0" smtClean="0"/>
              <a:t>9</a:t>
            </a:fld>
            <a:endParaRPr lang="en-GB" noProof="0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44DC726-C91F-1D20-4772-275856E59EA9}"/>
              </a:ext>
            </a:extLst>
          </p:cNvPr>
          <p:cNvSpPr txBox="1">
            <a:spLocks/>
          </p:cNvSpPr>
          <p:nvPr/>
        </p:nvSpPr>
        <p:spPr>
          <a:xfrm>
            <a:off x="839272" y="1412776"/>
            <a:ext cx="4752157" cy="44649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Organic</a:t>
            </a:r>
            <a:r>
              <a:rPr lang="en-US"/>
              <a:t>:</a:t>
            </a:r>
          </a:p>
          <a:p>
            <a:pPr lvl="1"/>
            <a:r>
              <a:rPr lang="en-US"/>
              <a:t>Majority of ion exchangers in radiochemical analysis are organic resins</a:t>
            </a:r>
          </a:p>
          <a:p>
            <a:pPr lvl="1"/>
            <a:r>
              <a:rPr lang="en-US"/>
              <a:t>Focus more on operating power plants</a:t>
            </a:r>
          </a:p>
          <a:p>
            <a:pPr lvl="1"/>
            <a:r>
              <a:rPr lang="en-US"/>
              <a:t>Cheaper, but less selective </a:t>
            </a:r>
            <a:r>
              <a:rPr lang="en-US">
                <a:sym typeface="Wingdings" panose="05000000000000000000" pitchFamily="2" charset="2"/>
              </a:rPr>
              <a:t> more material needed, and more waste remains</a:t>
            </a:r>
            <a:endParaRPr lang="en-US"/>
          </a:p>
          <a:p>
            <a:r>
              <a:rPr lang="en-US" b="1"/>
              <a:t>Inorganic</a:t>
            </a:r>
            <a:r>
              <a:rPr lang="en-US"/>
              <a:t>:</a:t>
            </a:r>
          </a:p>
          <a:p>
            <a:pPr lvl="1"/>
            <a:r>
              <a:rPr lang="en-US"/>
              <a:t>Focus more on waste treatment and volume reduction</a:t>
            </a:r>
          </a:p>
          <a:p>
            <a:pPr lvl="1"/>
            <a:r>
              <a:rPr lang="en-US"/>
              <a:t>Advantages:</a:t>
            </a:r>
          </a:p>
          <a:p>
            <a:pPr lvl="2"/>
            <a:r>
              <a:rPr lang="en-US"/>
              <a:t>High selectivity</a:t>
            </a:r>
          </a:p>
          <a:p>
            <a:pPr lvl="2"/>
            <a:r>
              <a:rPr lang="en-US"/>
              <a:t>Radiation tolerance</a:t>
            </a:r>
          </a:p>
          <a:p>
            <a:pPr lvl="2"/>
            <a:r>
              <a:rPr lang="en-US"/>
              <a:t>Thermal resistance</a:t>
            </a:r>
          </a:p>
          <a:p>
            <a:pPr lvl="2"/>
            <a:r>
              <a:rPr lang="en-US"/>
              <a:t>Mechanical and chemical stability</a:t>
            </a:r>
          </a:p>
          <a:p>
            <a:pPr lvl="2"/>
            <a:r>
              <a:rPr lang="en-US"/>
              <a:t>Minimizes disposal space, costs, and environmental burden</a:t>
            </a:r>
          </a:p>
          <a:p>
            <a:endParaRPr lang="en-US"/>
          </a:p>
          <a:p>
            <a:endParaRPr lang="en-US"/>
          </a:p>
          <a:p>
            <a:endParaRPr lang="en-US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B2AF60E-F669-D479-6504-475F738E9778}"/>
              </a:ext>
            </a:extLst>
          </p:cNvPr>
          <p:cNvSpPr txBox="1">
            <a:spLocks/>
          </p:cNvSpPr>
          <p:nvPr/>
        </p:nvSpPr>
        <p:spPr>
          <a:xfrm>
            <a:off x="263526" y="6453336"/>
            <a:ext cx="575746" cy="14401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b="0" kern="1200">
                <a:solidFill>
                  <a:schemeClr val="accent1"/>
                </a:solidFill>
                <a:latin typeface="+mn-lt"/>
                <a:ea typeface="+mn-ea"/>
                <a:cs typeface="Fortum Sans TT Regular" panose="020105040101010101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0E5A77-D385-4CDE-8FE8-D3E3CBE93E71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7BB6E9B8-ED78-E35E-2C7D-CDBA932A55EE}"/>
              </a:ext>
            </a:extLst>
          </p:cNvPr>
          <p:cNvSpPr txBox="1">
            <a:spLocks/>
          </p:cNvSpPr>
          <p:nvPr/>
        </p:nvSpPr>
        <p:spPr>
          <a:xfrm>
            <a:off x="839787" y="464232"/>
            <a:ext cx="10512425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0" baseline="0">
                <a:solidFill>
                  <a:schemeClr val="accent1"/>
                </a:solidFill>
                <a:latin typeface="+mj-lt"/>
                <a:ea typeface="+mj-ea"/>
                <a:cs typeface="Fortum Sans TT Bold" panose="02010804010101010104" pitchFamily="2" charset="0"/>
              </a:defRPr>
            </a:lvl1pPr>
          </a:lstStyle>
          <a:p>
            <a:r>
              <a:rPr lang="en-US" dirty="0"/>
              <a:t>Ion Exchange Materials - Comparison</a:t>
            </a:r>
            <a:endParaRPr lang="fi-FI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ACA61A-ED46-1BB1-2818-5B3E0D9EC2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3661" y="3861048"/>
            <a:ext cx="4391372" cy="9244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D866064-3638-7211-D2E4-DDD3F5678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0221" y="4900021"/>
            <a:ext cx="5818253" cy="169733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741C2380-0D85-78A8-8197-FFDD8B98BF2E}"/>
              </a:ext>
            </a:extLst>
          </p:cNvPr>
          <p:cNvGrpSpPr/>
          <p:nvPr/>
        </p:nvGrpSpPr>
        <p:grpSpPr>
          <a:xfrm>
            <a:off x="6298750" y="1138865"/>
            <a:ext cx="5441194" cy="2630359"/>
            <a:chOff x="5774715" y="4200480"/>
            <a:chExt cx="4319696" cy="2088209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6A26DEB-3994-6C47-84F4-ECEE00DDAD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E3E3E3"/>
                </a:clrFrom>
                <a:clrTo>
                  <a:srgbClr val="E3E3E3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4715" y="4200480"/>
              <a:ext cx="4319696" cy="2088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8DA14DB-5147-7223-6635-BFE6105C997D}"/>
                </a:ext>
              </a:extLst>
            </p:cNvPr>
            <p:cNvSpPr/>
            <p:nvPr/>
          </p:nvSpPr>
          <p:spPr>
            <a:xfrm rot="548182">
              <a:off x="6458894" y="4810817"/>
              <a:ext cx="2951339" cy="250894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i-FI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13" name="TextBox 26">
              <a:extLst>
                <a:ext uri="{FF2B5EF4-FFF2-40B4-BE49-F238E27FC236}">
                  <a16:creationId xmlns:a16="http://schemas.microsoft.com/office/drawing/2014/main" id="{627AE783-C63F-C7D3-4224-2F17287463BB}"/>
                </a:ext>
              </a:extLst>
            </p:cNvPr>
            <p:cNvSpPr txBox="1"/>
            <p:nvPr/>
          </p:nvSpPr>
          <p:spPr>
            <a:xfrm>
              <a:off x="7216730" y="4318171"/>
              <a:ext cx="2267615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i-F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b="1" dirty="0">
                  <a:solidFill>
                    <a:schemeClr val="accent1">
                      <a:lumMod val="75000"/>
                    </a:schemeClr>
                  </a:solidFill>
                  <a:latin typeface="Fortum Sans TT Bold" panose="02010804010101010104" pitchFamily="2" charset="0"/>
                  <a:cs typeface="Fortum Sans TT Bold" panose="02010804010101010104" pitchFamily="2" charset="0"/>
                </a:rPr>
                <a:t>Best available technology for Cs removal in high salt liqu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6079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Key_points_6"/>
</p:tagLst>
</file>

<file path=ppt/theme/theme1.xml><?xml version="1.0" encoding="utf-8"?>
<a:theme xmlns:a="http://schemas.openxmlformats.org/drawingml/2006/main" name="FORTUM Sans">
  <a:themeElements>
    <a:clrScheme name="FORTUM 2025 02/25">
      <a:dk1>
        <a:srgbClr val="000000"/>
      </a:dk1>
      <a:lt1>
        <a:sysClr val="window" lastClr="FFFFFF"/>
      </a:lt1>
      <a:dk2>
        <a:srgbClr val="18D270"/>
      </a:dk2>
      <a:lt2>
        <a:srgbClr val="F3EAD9"/>
      </a:lt2>
      <a:accent1>
        <a:srgbClr val="0F4632"/>
      </a:accent1>
      <a:accent2>
        <a:srgbClr val="25A26C"/>
      </a:accent2>
      <a:accent3>
        <a:srgbClr val="23375B"/>
      </a:accent3>
      <a:accent4>
        <a:srgbClr val="EEB6F2"/>
      </a:accent4>
      <a:accent5>
        <a:srgbClr val="FBF35A"/>
      </a:accent5>
      <a:accent6>
        <a:srgbClr val="FF9178"/>
      </a:accent6>
      <a:hlink>
        <a:srgbClr val="0F4632"/>
      </a:hlink>
      <a:folHlink>
        <a:srgbClr val="188156"/>
      </a:folHlink>
    </a:clrScheme>
    <a:fontScheme name="Fortum 2025 (brand)">
      <a:majorFont>
        <a:latin typeface="Fortum Sans TT Bold"/>
        <a:ea typeface=""/>
        <a:cs typeface=""/>
      </a:majorFont>
      <a:minorFont>
        <a:latin typeface="Fortum Sans TT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Fortum IvyGreen-900">
      <a:srgbClr val="0F4632"/>
    </a:custClr>
    <a:custClr name="Fortum IvyGreen-600">
      <a:srgbClr val="188156"/>
    </a:custClr>
    <a:custClr name="Fortum IvyGreen-500">
      <a:srgbClr val="25A26C"/>
    </a:custClr>
    <a:custClr name="Fortum IvyGreen-400">
      <a:srgbClr val="47C088"/>
    </a:custClr>
    <a:custClr name="Fortum IvyGreen-200">
      <a:srgbClr val="B0EAC9"/>
    </a:custClr>
    <a:custClr name="Fortum IvyGreen-100">
      <a:srgbClr val="D6F5E2"/>
    </a:custClr>
    <a:custClr name="Fortum PoweringGreen-500">
      <a:srgbClr val="18D270"/>
    </a:custClr>
    <a:custClr name="Fortum LevanderPurple-700">
      <a:srgbClr val="854586"/>
    </a:custClr>
    <a:custClr name="Fortum LevanderPurple-600">
      <a:srgbClr val="A054A1"/>
    </a:custClr>
    <a:custClr name="Fortum LevanderPurple-500">
      <a:srgbClr val="BC76C1"/>
    </a:custClr>
    <a:custClr name="Fortum LevanderPurple-300">
      <a:srgbClr val="EEB6F2"/>
    </a:custClr>
    <a:custClr name="Fortum LevanderPurple-200">
      <a:srgbClr val="F4D6F8"/>
    </a:custClr>
    <a:custClr name="Fortum LevanderPurple-100">
      <a:srgbClr val="F9EBFC"/>
    </a:custClr>
    <a:custClr name="Fortum BroadBlue-900">
      <a:srgbClr val="23375B"/>
    </a:custClr>
    <a:custClr name="Fortum BroadBlue-700">
      <a:srgbClr val="4769A5"/>
    </a:custClr>
    <a:custClr name="Fortum BroadBlue-500">
      <a:srgbClr val="6A90C3"/>
    </a:custClr>
    <a:custClr name="Fortum BroadBlue-400">
      <a:srgbClr val="89ACD1"/>
    </a:custClr>
    <a:custClr name="Fortum BroadBlue-200">
      <a:srgbClr val="D0DEED"/>
    </a:custClr>
    <a:custClr name="Fortum BroadBlue-100">
      <a:srgbClr val="E4ECF5"/>
    </a:custClr>
    <a:custClr name="Fortum DuskOrange-700">
      <a:srgbClr val="B33114"/>
    </a:custClr>
    <a:custClr name="Fortum DuskOrange-600">
      <a:srgbClr val="CC3E1F"/>
    </a:custClr>
    <a:custClr name="Fortum DuskOrange-500">
      <a:srgbClr val="EF5E3E"/>
    </a:custClr>
    <a:custClr name="Fortum DuskOrange-400">
      <a:srgbClr val="FF9178"/>
    </a:custClr>
    <a:custClr name="Fortum DuskOrange-200">
      <a:srgbClr val="FFD1C7"/>
    </a:custClr>
    <a:custClr name="Fortum DuskOrange-100">
      <a:srgbClr val="FFD1C7"/>
    </a:custClr>
    <a:custClr name="Fortum ElectricYellow-700">
      <a:srgbClr val="8C6408"/>
    </a:custClr>
    <a:custClr name="Fortum ElectricYellow-400">
      <a:srgbClr val="F7E218"/>
    </a:custClr>
    <a:custClr name="Fortum ElectricYellow-300">
      <a:srgbClr val="FBF35A"/>
    </a:custClr>
    <a:custClr name="Fortum ElectricYellow-200">
      <a:srgbClr val="FCFB8C"/>
    </a:custClr>
    <a:custClr name="Fortum ElectricYellow-100">
      <a:srgbClr val="FCFDC4"/>
    </a:custClr>
    <a:custClr name="Fortum BalancingBeige-700">
      <a:srgbClr val="7B573D"/>
    </a:custClr>
    <a:custClr name="Fortum BalancingBeige-600">
      <a:srgbClr val="936848"/>
    </a:custClr>
    <a:custClr name="Fortum BalancingBeige-500">
      <a:srgbClr val="B18754"/>
    </a:custClr>
    <a:custClr name="Fortum BalancingBeige-200">
      <a:srgbClr val="E4D9C4"/>
    </a:custClr>
    <a:custClr name="Fortum BalancingBeige-100">
      <a:srgbClr val="F3EAD9"/>
    </a:custClr>
    <a:custClr name="Fortum ElectricOrange-700">
      <a:srgbClr val="AB3907"/>
    </a:custClr>
    <a:custClr name="Fortum ElectricOrange-600">
      <a:srgbClr val="BE4F04"/>
    </a:custClr>
    <a:custClr name="Fortum ElectricOrange-500">
      <a:srgbClr val="DB720A"/>
    </a:custClr>
    <a:custClr name="Fortum ElectricOrange-400">
      <a:srgbClr val="F9A326"/>
    </a:custClr>
    <a:custClr name="Fortum ElectricOrange-200">
      <a:srgbClr val="FFD788"/>
    </a:custClr>
    <a:custClr name="Fortum ElectricOrange-100">
      <a:srgbClr val="FFEDC6"/>
    </a:custClr>
    <a:custClr name="Fortum PowerRed-700">
      <a:srgbClr val="B72434"/>
    </a:custClr>
    <a:custClr name="Fortum PowerRed-600">
      <a:srgbClr val="B72434"/>
    </a:custClr>
    <a:custClr name="Fortum PowerRed-500">
      <a:srgbClr val="EA6263"/>
    </a:custClr>
    <a:custClr name="Fortum PowerRed-400">
      <a:srgbClr val="F59594"/>
    </a:custClr>
    <a:custClr name="Fortum PowerRed-200">
      <a:srgbClr val="FAD1D1"/>
    </a:custClr>
    <a:custClr name="Fortum PowerRed-100">
      <a:srgbClr val="FDE7E6"/>
    </a:custClr>
  </a:custClrLst>
  <a:extLst>
    <a:ext uri="{05A4C25C-085E-4340-85A3-A5531E510DB2}">
      <thm15:themeFamily xmlns:thm15="http://schemas.microsoft.com/office/thememl/2012/main" name="fortum_sample.potx" id="{0807F68B-7D69-42CF-BB07-9CB093865A94}" vid="{68451215-3F95-43E2-AD6F-43D04E9234DE}"/>
    </a:ext>
  </a:extLst>
</a:theme>
</file>

<file path=ppt/theme/theme2.xml><?xml version="1.0" encoding="utf-8"?>
<a:theme xmlns:a="http://schemas.openxmlformats.org/drawingml/2006/main" name="FORTUM Arial">
  <a:themeElements>
    <a:clrScheme name="FORTUM 2025 02/25">
      <a:dk1>
        <a:srgbClr val="000000"/>
      </a:dk1>
      <a:lt1>
        <a:sysClr val="window" lastClr="FFFFFF"/>
      </a:lt1>
      <a:dk2>
        <a:srgbClr val="18D270"/>
      </a:dk2>
      <a:lt2>
        <a:srgbClr val="F3EAD9"/>
      </a:lt2>
      <a:accent1>
        <a:srgbClr val="0F4632"/>
      </a:accent1>
      <a:accent2>
        <a:srgbClr val="25A26C"/>
      </a:accent2>
      <a:accent3>
        <a:srgbClr val="23375B"/>
      </a:accent3>
      <a:accent4>
        <a:srgbClr val="EEB6F2"/>
      </a:accent4>
      <a:accent5>
        <a:srgbClr val="FBF35A"/>
      </a:accent5>
      <a:accent6>
        <a:srgbClr val="FF9178"/>
      </a:accent6>
      <a:hlink>
        <a:srgbClr val="0F4632"/>
      </a:hlink>
      <a:folHlink>
        <a:srgbClr val="18815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Fortum IvyGreen-900">
      <a:srgbClr val="0F4632"/>
    </a:custClr>
    <a:custClr name="Fortum IvyGreen-600">
      <a:srgbClr val="188156"/>
    </a:custClr>
    <a:custClr name="Fortum IvyGreen-500">
      <a:srgbClr val="25A26C"/>
    </a:custClr>
    <a:custClr name="Fortum IvyGreen-400">
      <a:srgbClr val="47C088"/>
    </a:custClr>
    <a:custClr name="Fortum IvyGreen-200">
      <a:srgbClr val="B0EAC9"/>
    </a:custClr>
    <a:custClr name="Fortum IvyGreen-100">
      <a:srgbClr val="D6F5E2"/>
    </a:custClr>
    <a:custClr name="Fortum PoweringGreen-500">
      <a:srgbClr val="18D270"/>
    </a:custClr>
    <a:custClr name="Fortum LevanderPurple-700">
      <a:srgbClr val="854586"/>
    </a:custClr>
    <a:custClr name="Fortum LevanderPurple-600">
      <a:srgbClr val="A054A1"/>
    </a:custClr>
    <a:custClr name="Fortum LevanderPurple-500">
      <a:srgbClr val="BC76C1"/>
    </a:custClr>
    <a:custClr name="Fortum LevanderPurple-300">
      <a:srgbClr val="EEB6F2"/>
    </a:custClr>
    <a:custClr name="Fortum LevanderPurple-200">
      <a:srgbClr val="F4D6F8"/>
    </a:custClr>
    <a:custClr name="Fortum LevanderPurple-100">
      <a:srgbClr val="F9EBFC"/>
    </a:custClr>
    <a:custClr name="Fortum BroadBlue-900">
      <a:srgbClr val="23375B"/>
    </a:custClr>
    <a:custClr name="Fortum BroadBlue-700">
      <a:srgbClr val="4769A5"/>
    </a:custClr>
    <a:custClr name="Fortum BroadBlue-500">
      <a:srgbClr val="6A90C3"/>
    </a:custClr>
    <a:custClr name="Fortum BroadBlue-400">
      <a:srgbClr val="89ACD1"/>
    </a:custClr>
    <a:custClr name="Fortum BroadBlue-200">
      <a:srgbClr val="D0DEED"/>
    </a:custClr>
    <a:custClr name="Fortum BroadBlue-100">
      <a:srgbClr val="E4ECF5"/>
    </a:custClr>
    <a:custClr name="Fortum DuskOrange-700">
      <a:srgbClr val="B33114"/>
    </a:custClr>
    <a:custClr name="Fortum DuskOrange-600">
      <a:srgbClr val="CC3E1F"/>
    </a:custClr>
    <a:custClr name="Fortum DuskOrange-500">
      <a:srgbClr val="EF5E3E"/>
    </a:custClr>
    <a:custClr name="Fortum DuskOrange-400">
      <a:srgbClr val="FF9178"/>
    </a:custClr>
    <a:custClr name="Fortum DuskOrange-200">
      <a:srgbClr val="FFD1C7"/>
    </a:custClr>
    <a:custClr name="Fortum DuskOrange-100">
      <a:srgbClr val="FFD1C7"/>
    </a:custClr>
    <a:custClr name="Fortum ElectricYellow-700">
      <a:srgbClr val="8C6408"/>
    </a:custClr>
    <a:custClr name="Fortum ElectricYellow-400">
      <a:srgbClr val="F7E218"/>
    </a:custClr>
    <a:custClr name="Fortum ElectricYellow-300">
      <a:srgbClr val="FBF35A"/>
    </a:custClr>
    <a:custClr name="Fortum ElectricYellow-200">
      <a:srgbClr val="FCFB8C"/>
    </a:custClr>
    <a:custClr name="Fortum ElectricYellow-100">
      <a:srgbClr val="FCFDC4"/>
    </a:custClr>
    <a:custClr name="Fortum BalancingBeige-700">
      <a:srgbClr val="7B573D"/>
    </a:custClr>
    <a:custClr name="Fortum BalancingBeige-600">
      <a:srgbClr val="936848"/>
    </a:custClr>
    <a:custClr name="Fortum BalancingBeige-500">
      <a:srgbClr val="B18754"/>
    </a:custClr>
    <a:custClr name="Fortum BalancingBeige-200">
      <a:srgbClr val="E4D9C4"/>
    </a:custClr>
    <a:custClr name="Fortum BalancingBeige-100">
      <a:srgbClr val="F3EAD9"/>
    </a:custClr>
    <a:custClr name="Fortum ElectricOrange-700">
      <a:srgbClr val="AB3907"/>
    </a:custClr>
    <a:custClr name="Fortum ElectricOrange-600">
      <a:srgbClr val="BE4F04"/>
    </a:custClr>
    <a:custClr name="Fortum ElectricOrange-500">
      <a:srgbClr val="DB720A"/>
    </a:custClr>
    <a:custClr name="Fortum ElectricOrange-400">
      <a:srgbClr val="F9A326"/>
    </a:custClr>
    <a:custClr name="Fortum ElectricOrange-200">
      <a:srgbClr val="FFD788"/>
    </a:custClr>
    <a:custClr name="Fortum ElectricOrange-100">
      <a:srgbClr val="FFEDC6"/>
    </a:custClr>
    <a:custClr name="Fortum PowerRed-700">
      <a:srgbClr val="B72434"/>
    </a:custClr>
    <a:custClr name="Fortum PowerRed-600">
      <a:srgbClr val="B72434"/>
    </a:custClr>
    <a:custClr name="Fortum PowerRed-500">
      <a:srgbClr val="EA6263"/>
    </a:custClr>
    <a:custClr name="Fortum PowerRed-400">
      <a:srgbClr val="F59594"/>
    </a:custClr>
    <a:custClr name="Fortum PowerRed-200">
      <a:srgbClr val="FAD1D1"/>
    </a:custClr>
    <a:custClr name="Fortum PowerRed-100">
      <a:srgbClr val="FDE7E6"/>
    </a:custClr>
  </a:custClrLst>
  <a:extLst>
    <a:ext uri="{05A4C25C-085E-4340-85A3-A5531E510DB2}">
      <thm15:themeFamily xmlns:thm15="http://schemas.microsoft.com/office/thememl/2012/main" name="fortum_sample.potx" id="{0807F68B-7D69-42CF-BB07-9CB093865A94}" vid="{3C4CB2D9-F58D-4CC3-87A3-421175B6C152}"/>
    </a:ext>
  </a:extLst>
</a:theme>
</file>

<file path=ppt/theme/theme3.xml><?xml version="1.0" encoding="utf-8"?>
<a:theme xmlns:a="http://schemas.openxmlformats.org/drawingml/2006/main" name="Office Theme">
  <a:themeElements>
    <a:clrScheme name="FORTUM 2025 02/25">
      <a:dk1>
        <a:srgbClr val="000000"/>
      </a:dk1>
      <a:lt1>
        <a:sysClr val="window" lastClr="FFFFFF"/>
      </a:lt1>
      <a:dk2>
        <a:srgbClr val="18D270"/>
      </a:dk2>
      <a:lt2>
        <a:srgbClr val="F3EAD9"/>
      </a:lt2>
      <a:accent1>
        <a:srgbClr val="0F4632"/>
      </a:accent1>
      <a:accent2>
        <a:srgbClr val="25A26C"/>
      </a:accent2>
      <a:accent3>
        <a:srgbClr val="23375B"/>
      </a:accent3>
      <a:accent4>
        <a:srgbClr val="EEB6F2"/>
      </a:accent4>
      <a:accent5>
        <a:srgbClr val="FBF35A"/>
      </a:accent5>
      <a:accent6>
        <a:srgbClr val="FF9178"/>
      </a:accent6>
      <a:hlink>
        <a:srgbClr val="0F4632"/>
      </a:hlink>
      <a:folHlink>
        <a:srgbClr val="18815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FORTUM 2025 02/25">
      <a:dk1>
        <a:srgbClr val="000000"/>
      </a:dk1>
      <a:lt1>
        <a:sysClr val="window" lastClr="FFFFFF"/>
      </a:lt1>
      <a:dk2>
        <a:srgbClr val="18D270"/>
      </a:dk2>
      <a:lt2>
        <a:srgbClr val="F3EAD9"/>
      </a:lt2>
      <a:accent1>
        <a:srgbClr val="0F4632"/>
      </a:accent1>
      <a:accent2>
        <a:srgbClr val="25A26C"/>
      </a:accent2>
      <a:accent3>
        <a:srgbClr val="23375B"/>
      </a:accent3>
      <a:accent4>
        <a:srgbClr val="EEB6F2"/>
      </a:accent4>
      <a:accent5>
        <a:srgbClr val="FBF35A"/>
      </a:accent5>
      <a:accent6>
        <a:srgbClr val="FF9178"/>
      </a:accent6>
      <a:hlink>
        <a:srgbClr val="0F4632"/>
      </a:hlink>
      <a:folHlink>
        <a:srgbClr val="18815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B473F7A97E0B45ADF040C9E2DC44FC" ma:contentTypeVersion="4" ma:contentTypeDescription="Create a new document." ma:contentTypeScope="" ma:versionID="afcef3e8025f65059fec7843661755d6">
  <xsd:schema xmlns:xsd="http://www.w3.org/2001/XMLSchema" xmlns:xs="http://www.w3.org/2001/XMLSchema" xmlns:p="http://schemas.microsoft.com/office/2006/metadata/properties" xmlns:ns2="c1fbebde-2855-4c6e-93df-3198444fb22e" targetNamespace="http://schemas.microsoft.com/office/2006/metadata/properties" ma:root="true" ma:fieldsID="1162c7738c3ac924a31c947023144c32" ns2:_="">
    <xsd:import namespace="c1fbebde-2855-4c6e-93df-3198444fb22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bebde-2855-4c6e-93df-3198444fb2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852175B-5A5F-4356-BA29-A9C1BA98708D}">
  <ds:schemaRefs>
    <ds:schemaRef ds:uri="http://schemas.microsoft.com/office/2006/metadata/properties"/>
    <ds:schemaRef ds:uri="http://schemas.microsoft.com/office/infopath/2007/PartnerControls"/>
    <ds:schemaRef ds:uri="c1fbebde-2855-4c6e-93df-3198444fb22e"/>
    <ds:schemaRef ds:uri="http://purl.org/dc/dcmitype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F0D46BE7-884B-4B13-B4DB-96345FD4E2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fbebde-2855-4c6e-93df-3198444fb22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37359FF-E5F8-4FA2-B6D1-0D7E1ACB75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tum - PowerPoint</Template>
  <TotalTime>0</TotalTime>
  <Words>1111</Words>
  <Application>Microsoft Office PowerPoint</Application>
  <PresentationFormat>Widescreen</PresentationFormat>
  <Paragraphs>239</Paragraphs>
  <Slides>19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Fortum Sans TT Light</vt:lpstr>
      <vt:lpstr>Wingdings</vt:lpstr>
      <vt:lpstr>Fortum Sans TT Bold</vt:lpstr>
      <vt:lpstr>Fortum Sans TT Regular</vt:lpstr>
      <vt:lpstr>FORTUM Sans</vt:lpstr>
      <vt:lpstr>FORTUM Arial</vt:lpstr>
      <vt:lpstr>Applicability of NURES® ion exchange materials for holistic radioactive liquid waste treatment</vt:lpstr>
      <vt:lpstr>Table of Contents</vt:lpstr>
      <vt:lpstr>Introduction &amp; Aim</vt:lpstr>
      <vt:lpstr>Introduction to NURES®</vt:lpstr>
      <vt:lpstr>Background</vt:lpstr>
      <vt:lpstr>PowerPoint Presentation</vt:lpstr>
      <vt:lpstr>Sources of Liquid Waste and Harmful Elements</vt:lpstr>
      <vt:lpstr>NURES Ion Exchange Materials</vt:lpstr>
      <vt:lpstr>PowerPoint Presentation</vt:lpstr>
      <vt:lpstr>Materials &amp; Methods</vt:lpstr>
      <vt:lpstr>Choice of Elements &amp; Batch Experiments</vt:lpstr>
      <vt:lpstr>Chemical Speciation</vt:lpstr>
      <vt:lpstr>Measurements</vt:lpstr>
      <vt:lpstr>Results</vt:lpstr>
      <vt:lpstr>Distribution Coefficient and Sorption (%) </vt:lpstr>
      <vt:lpstr>Distribution Coefficient and Sorption (%) </vt:lpstr>
      <vt:lpstr>Conclusion</vt:lpstr>
      <vt:lpstr>Thank you!  Questions?</vt:lpstr>
      <vt:lpstr>Selected Partners &amp; Referenc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ojnicka Weronika</dc:creator>
  <cp:lastModifiedBy>Wojnicka Weronika</cp:lastModifiedBy>
  <cp:revision>3</cp:revision>
  <dcterms:created xsi:type="dcterms:W3CDTF">2025-06-10T09:18:59Z</dcterms:created>
  <dcterms:modified xsi:type="dcterms:W3CDTF">2025-10-17T13:3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B473F7A97E0B45ADF040C9E2DC44FC</vt:lpwstr>
  </property>
  <property fmtid="{D5CDD505-2E9C-101B-9397-08002B2CF9AE}" pid="3" name="MSIP_Label_f45044c0-b6aa-4b2b-834d-65c9ef8bb134_Enabled">
    <vt:lpwstr>true</vt:lpwstr>
  </property>
  <property fmtid="{D5CDD505-2E9C-101B-9397-08002B2CF9AE}" pid="4" name="MSIP_Label_f45044c0-b6aa-4b2b-834d-65c9ef8bb134_SetDate">
    <vt:lpwstr>2025-06-10T11:05:58Z</vt:lpwstr>
  </property>
  <property fmtid="{D5CDD505-2E9C-101B-9397-08002B2CF9AE}" pid="5" name="MSIP_Label_f45044c0-b6aa-4b2b-834d-65c9ef8bb134_Method">
    <vt:lpwstr>Standard</vt:lpwstr>
  </property>
  <property fmtid="{D5CDD505-2E9C-101B-9397-08002B2CF9AE}" pid="6" name="MSIP_Label_f45044c0-b6aa-4b2b-834d-65c9ef8bb134_Name">
    <vt:lpwstr>f45044c0-b6aa-4b2b-834d-65c9ef8bb134</vt:lpwstr>
  </property>
  <property fmtid="{D5CDD505-2E9C-101B-9397-08002B2CF9AE}" pid="7" name="MSIP_Label_f45044c0-b6aa-4b2b-834d-65c9ef8bb134_SiteId">
    <vt:lpwstr>62a9c2c8-8b09-43be-a7fb-9a87875714a9</vt:lpwstr>
  </property>
  <property fmtid="{D5CDD505-2E9C-101B-9397-08002B2CF9AE}" pid="8" name="MSIP_Label_f45044c0-b6aa-4b2b-834d-65c9ef8bb134_ActionId">
    <vt:lpwstr>6cc951fe-6f7d-41d5-a0d8-dd8c7f257c87</vt:lpwstr>
  </property>
  <property fmtid="{D5CDD505-2E9C-101B-9397-08002B2CF9AE}" pid="9" name="MSIP_Label_f45044c0-b6aa-4b2b-834d-65c9ef8bb134_ContentBits">
    <vt:lpwstr>0</vt:lpwstr>
  </property>
  <property fmtid="{D5CDD505-2E9C-101B-9397-08002B2CF9AE}" pid="10" name="MSIP_Label_f45044c0-b6aa-4b2b-834d-65c9ef8bb134_Tag">
    <vt:lpwstr>10, 3, 0, 1</vt:lpwstr>
  </property>
</Properties>
</file>